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58" r:id="rId2"/>
    <p:sldId id="259" r:id="rId3"/>
    <p:sldId id="260" r:id="rId4"/>
    <p:sldId id="261" r:id="rId5"/>
    <p:sldId id="262" r:id="rId6"/>
    <p:sldId id="263" r:id="rId7"/>
    <p:sldId id="281" r:id="rId8"/>
    <p:sldId id="278" r:id="rId9"/>
    <p:sldId id="267" r:id="rId10"/>
    <p:sldId id="269" r:id="rId11"/>
    <p:sldId id="268" r:id="rId12"/>
    <p:sldId id="275" r:id="rId13"/>
    <p:sldId id="277" r:id="rId14"/>
    <p:sldId id="276" r:id="rId15"/>
    <p:sldId id="264" r:id="rId16"/>
    <p:sldId id="280" r:id="rId17"/>
    <p:sldId id="270" r:id="rId18"/>
    <p:sldId id="271" r:id="rId19"/>
    <p:sldId id="272" r:id="rId20"/>
    <p:sldId id="273" r:id="rId21"/>
    <p:sldId id="279" r:id="rId22"/>
  </p:sldIdLst>
  <p:sldSz cx="9144000" cy="6858000" type="screen4x3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96">
          <p15:clr>
            <a:srgbClr val="A4A3A4"/>
          </p15:clr>
        </p15:guide>
        <p15:guide id="2" orient="horz" pos="629">
          <p15:clr>
            <a:srgbClr val="A4A3A4"/>
          </p15:clr>
        </p15:guide>
        <p15:guide id="3" orient="horz" pos="997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217">
          <p15:clr>
            <a:srgbClr val="A4A3A4"/>
          </p15:clr>
        </p15:guide>
        <p15:guide id="6" orient="horz" pos="3681">
          <p15:clr>
            <a:srgbClr val="A4A3A4"/>
          </p15:clr>
        </p15:guide>
        <p15:guide id="7" orient="horz" pos="4054">
          <p15:clr>
            <a:srgbClr val="A4A3A4"/>
          </p15:clr>
        </p15:guide>
        <p15:guide id="8" pos="631">
          <p15:clr>
            <a:srgbClr val="A4A3A4"/>
          </p15:clr>
        </p15:guide>
        <p15:guide id="9" pos="1020">
          <p15:clr>
            <a:srgbClr val="A4A3A4"/>
          </p15:clr>
        </p15:guide>
        <p15:guide id="10" pos="5389">
          <p15:clr>
            <a:srgbClr val="A4A3A4"/>
          </p15:clr>
        </p15:guide>
        <p15:guide id="11" pos="3120">
          <p15:clr>
            <a:srgbClr val="A4A3A4"/>
          </p15:clr>
        </p15:guide>
        <p15:guide id="12" pos="219">
          <p15:clr>
            <a:srgbClr val="A4A3A4"/>
          </p15:clr>
        </p15:guide>
        <p15:guide id="13" pos="32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2922E"/>
    <a:srgbClr val="1954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301" autoAdjust="0"/>
    <p:restoredTop sz="94666"/>
  </p:normalViewPr>
  <p:slideViewPr>
    <p:cSldViewPr snapToGrid="0" showGuides="1">
      <p:cViewPr varScale="1">
        <p:scale>
          <a:sx n="102" d="100"/>
          <a:sy n="102" d="100"/>
        </p:scale>
        <p:origin x="776" y="184"/>
      </p:cViewPr>
      <p:guideLst>
        <p:guide orient="horz" pos="1296"/>
        <p:guide orient="horz" pos="629"/>
        <p:guide orient="horz" pos="997"/>
        <p:guide orient="horz"/>
        <p:guide orient="horz" pos="217"/>
        <p:guide orient="horz" pos="3681"/>
        <p:guide orient="horz" pos="4054"/>
        <p:guide pos="631"/>
        <p:guide pos="1020"/>
        <p:guide pos="5389"/>
        <p:guide pos="3120"/>
        <p:guide pos="219"/>
        <p:guide pos="3292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3174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079D065-03A5-4C09-9A36-A973175AAF75}" type="datetimeFigureOut">
              <a:rPr lang="en-GB" smtClean="0"/>
              <a:pPr/>
              <a:t>07/10/2019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F99DCF-A131-4957-829E-DFB5C8C3EC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54865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BE83AF-099B-4806-8A01-46E18DA9A610}" type="datetimeFigureOut">
              <a:rPr lang="sv-SE" smtClean="0"/>
              <a:t>2019-10-0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A8A9AB-2760-49BF-AC95-7B902E588CB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0101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e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5106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textruta 5"/>
          <p:cNvSpPr txBox="1"/>
          <p:nvPr userDrawn="1"/>
        </p:nvSpPr>
        <p:spPr>
          <a:xfrm>
            <a:off x="7103422" y="263482"/>
            <a:ext cx="177965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100" b="1" dirty="0"/>
              <a:t>KTH ROYAL INSTITUTE</a:t>
            </a:r>
            <a:br>
              <a:rPr lang="sv-SE" sz="1100" b="1" dirty="0"/>
            </a:br>
            <a:r>
              <a:rPr lang="sv-SE" sz="1100" b="1" dirty="0"/>
              <a:t>OF</a:t>
            </a:r>
            <a:r>
              <a:rPr lang="sv-SE" sz="1100" b="1" baseline="0" dirty="0"/>
              <a:t> TECHNOLOGY</a:t>
            </a:r>
            <a:endParaRPr lang="sv-SE" sz="1100" b="1" dirty="0"/>
          </a:p>
        </p:txBody>
      </p:sp>
    </p:spTree>
    <p:extLst>
      <p:ext uri="{BB962C8B-B14F-4D97-AF65-F5344CB8AC3E}">
        <p14:creationId xmlns:p14="http://schemas.microsoft.com/office/powerpoint/2010/main" val="34048024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CFCB38AA-14D0-4B67-BE5B-608C5A8A7489}" type="datetimeFigureOut">
              <a:rPr lang="sv-SE" smtClean="0"/>
              <a:pPr/>
              <a:t>2019-10-07</a:t>
            </a:fld>
            <a:endParaRPr lang="sv-SE"/>
          </a:p>
        </p:txBody>
      </p:sp>
      <p:sp>
        <p:nvSpPr>
          <p:cNvPr id="14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</a:defRPr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tx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1199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 userDrawn="1"/>
        </p:nvSpPr>
        <p:spPr bwMode="gray">
          <a:xfrm>
            <a:off x="0" y="3613150"/>
            <a:ext cx="9144000" cy="32448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 bwMode="gray">
          <a:xfrm>
            <a:off x="1568185" y="1161181"/>
            <a:ext cx="6984337" cy="1043684"/>
          </a:xfrm>
        </p:spPr>
        <p:txBody>
          <a:bodyPr>
            <a:normAutofit/>
          </a:bodyPr>
          <a:lstStyle>
            <a:lvl1pPr algn="l">
              <a:lnSpc>
                <a:spcPts val="3800"/>
              </a:lnSpc>
              <a:defRPr sz="3600" b="1"/>
            </a:lvl1pPr>
          </a:lstStyle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 bwMode="gray">
          <a:xfrm>
            <a:off x="1567963" y="2276872"/>
            <a:ext cx="6987075" cy="936104"/>
          </a:xfrm>
        </p:spPr>
        <p:txBody>
          <a:bodyPr>
            <a:normAutofit/>
          </a:bodyPr>
          <a:lstStyle>
            <a:lvl1pPr marL="0" indent="0" algn="l">
              <a:lnSpc>
                <a:spcPts val="28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Klicka här för att ändra format på underrubrik i bakgrunden</a:t>
            </a:r>
            <a:endParaRPr lang="en-GB" dirty="0"/>
          </a:p>
        </p:txBody>
      </p:sp>
      <p:pic>
        <p:nvPicPr>
          <p:cNvPr id="1026" name="Picture 2" descr="http://intra.kth.se/polopoly_fs/1.383275!/image/KTH_pngs.png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469" b="7207"/>
          <a:stretch/>
        </p:blipFill>
        <p:spPr bwMode="gray">
          <a:xfrm>
            <a:off x="347663" y="344488"/>
            <a:ext cx="803938" cy="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ine 6"/>
          <p:cNvSpPr>
            <a:spLocks noChangeShapeType="1"/>
          </p:cNvSpPr>
          <p:nvPr userDrawn="1"/>
        </p:nvSpPr>
        <p:spPr bwMode="gray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Freeform 7"/>
          <p:cNvSpPr>
            <a:spLocks/>
          </p:cNvSpPr>
          <p:nvPr userDrawn="1"/>
        </p:nvSpPr>
        <p:spPr bwMode="gray">
          <a:xfrm>
            <a:off x="-3236" y="4049403"/>
            <a:ext cx="9150869" cy="1215998"/>
          </a:xfrm>
          <a:custGeom>
            <a:avLst/>
            <a:gdLst>
              <a:gd name="T0" fmla="*/ 0 w 8479"/>
              <a:gd name="T1" fmla="*/ 356 h 535"/>
              <a:gd name="T2" fmla="*/ 597 w 8479"/>
              <a:gd name="T3" fmla="*/ 356 h 535"/>
              <a:gd name="T4" fmla="*/ 625 w 8479"/>
              <a:gd name="T5" fmla="*/ 328 h 535"/>
              <a:gd name="T6" fmla="*/ 625 w 8479"/>
              <a:gd name="T7" fmla="*/ 28 h 535"/>
              <a:gd name="T8" fmla="*/ 653 w 8479"/>
              <a:gd name="T9" fmla="*/ 0 h 535"/>
              <a:gd name="T10" fmla="*/ 954 w 8479"/>
              <a:gd name="T11" fmla="*/ 0 h 535"/>
              <a:gd name="T12" fmla="*/ 982 w 8479"/>
              <a:gd name="T13" fmla="*/ 28 h 535"/>
              <a:gd name="T14" fmla="*/ 982 w 8479"/>
              <a:gd name="T15" fmla="*/ 507 h 535"/>
              <a:gd name="T16" fmla="*/ 1010 w 8479"/>
              <a:gd name="T17" fmla="*/ 535 h 535"/>
              <a:gd name="T18" fmla="*/ 1545 w 8479"/>
              <a:gd name="T19" fmla="*/ 535 h 535"/>
              <a:gd name="T20" fmla="*/ 1573 w 8479"/>
              <a:gd name="T21" fmla="*/ 507 h 535"/>
              <a:gd name="T22" fmla="*/ 1573 w 8479"/>
              <a:gd name="T23" fmla="*/ 328 h 535"/>
              <a:gd name="T24" fmla="*/ 1601 w 8479"/>
              <a:gd name="T25" fmla="*/ 300 h 535"/>
              <a:gd name="T26" fmla="*/ 2497 w 8479"/>
              <a:gd name="T27" fmla="*/ 300 h 535"/>
              <a:gd name="T28" fmla="*/ 2524 w 8479"/>
              <a:gd name="T29" fmla="*/ 328 h 535"/>
              <a:gd name="T30" fmla="*/ 2524 w 8479"/>
              <a:gd name="T31" fmla="*/ 507 h 535"/>
              <a:gd name="T32" fmla="*/ 2552 w 8479"/>
              <a:gd name="T33" fmla="*/ 535 h 535"/>
              <a:gd name="T34" fmla="*/ 2797 w 8479"/>
              <a:gd name="T35" fmla="*/ 535 h 535"/>
              <a:gd name="T36" fmla="*/ 2825 w 8479"/>
              <a:gd name="T37" fmla="*/ 507 h 535"/>
              <a:gd name="T38" fmla="*/ 2825 w 8479"/>
              <a:gd name="T39" fmla="*/ 384 h 535"/>
              <a:gd name="T40" fmla="*/ 2852 w 8479"/>
              <a:gd name="T41" fmla="*/ 356 h 535"/>
              <a:gd name="T42" fmla="*/ 3153 w 8479"/>
              <a:gd name="T43" fmla="*/ 356 h 535"/>
              <a:gd name="T44" fmla="*/ 3181 w 8479"/>
              <a:gd name="T45" fmla="*/ 384 h 535"/>
              <a:gd name="T46" fmla="*/ 3181 w 8479"/>
              <a:gd name="T47" fmla="*/ 450 h 535"/>
              <a:gd name="T48" fmla="*/ 3209 w 8479"/>
              <a:gd name="T49" fmla="*/ 478 h 535"/>
              <a:gd name="T50" fmla="*/ 5290 w 8479"/>
              <a:gd name="T51" fmla="*/ 478 h 535"/>
              <a:gd name="T52" fmla="*/ 5317 w 8479"/>
              <a:gd name="T53" fmla="*/ 450 h 535"/>
              <a:gd name="T54" fmla="*/ 5317 w 8479"/>
              <a:gd name="T55" fmla="*/ 28 h 535"/>
              <a:gd name="T56" fmla="*/ 5345 w 8479"/>
              <a:gd name="T57" fmla="*/ 0 h 535"/>
              <a:gd name="T58" fmla="*/ 6031 w 8479"/>
              <a:gd name="T59" fmla="*/ 0 h 535"/>
              <a:gd name="T60" fmla="*/ 6059 w 8479"/>
              <a:gd name="T61" fmla="*/ 28 h 535"/>
              <a:gd name="T62" fmla="*/ 6059 w 8479"/>
              <a:gd name="T63" fmla="*/ 383 h 535"/>
              <a:gd name="T64" fmla="*/ 6087 w 8479"/>
              <a:gd name="T65" fmla="*/ 411 h 535"/>
              <a:gd name="T66" fmla="*/ 7130 w 8479"/>
              <a:gd name="T67" fmla="*/ 411 h 535"/>
              <a:gd name="T68" fmla="*/ 7158 w 8479"/>
              <a:gd name="T69" fmla="*/ 383 h 535"/>
              <a:gd name="T70" fmla="*/ 7158 w 8479"/>
              <a:gd name="T71" fmla="*/ 111 h 535"/>
              <a:gd name="T72" fmla="*/ 7186 w 8479"/>
              <a:gd name="T73" fmla="*/ 83 h 535"/>
              <a:gd name="T74" fmla="*/ 8479 w 8479"/>
              <a:gd name="T75" fmla="*/ 83 h 535"/>
              <a:gd name="connsiteX0" fmla="*/ 0 w 9296"/>
              <a:gd name="connsiteY0" fmla="*/ 6654 h 10000"/>
              <a:gd name="connsiteX1" fmla="*/ 33 w 9296"/>
              <a:gd name="connsiteY1" fmla="*/ 6131 h 10000"/>
              <a:gd name="connsiteX2" fmla="*/ 33 w 9296"/>
              <a:gd name="connsiteY2" fmla="*/ 523 h 10000"/>
              <a:gd name="connsiteX3" fmla="*/ 66 w 9296"/>
              <a:gd name="connsiteY3" fmla="*/ 0 h 10000"/>
              <a:gd name="connsiteX4" fmla="*/ 421 w 9296"/>
              <a:gd name="connsiteY4" fmla="*/ 0 h 10000"/>
              <a:gd name="connsiteX5" fmla="*/ 454 w 9296"/>
              <a:gd name="connsiteY5" fmla="*/ 523 h 10000"/>
              <a:gd name="connsiteX6" fmla="*/ 454 w 9296"/>
              <a:gd name="connsiteY6" fmla="*/ 9477 h 10000"/>
              <a:gd name="connsiteX7" fmla="*/ 487 w 9296"/>
              <a:gd name="connsiteY7" fmla="*/ 10000 h 10000"/>
              <a:gd name="connsiteX8" fmla="*/ 1118 w 9296"/>
              <a:gd name="connsiteY8" fmla="*/ 10000 h 10000"/>
              <a:gd name="connsiteX9" fmla="*/ 1151 w 9296"/>
              <a:gd name="connsiteY9" fmla="*/ 9477 h 10000"/>
              <a:gd name="connsiteX10" fmla="*/ 1151 w 9296"/>
              <a:gd name="connsiteY10" fmla="*/ 6131 h 10000"/>
              <a:gd name="connsiteX11" fmla="*/ 1184 w 9296"/>
              <a:gd name="connsiteY11" fmla="*/ 5607 h 10000"/>
              <a:gd name="connsiteX12" fmla="*/ 2241 w 9296"/>
              <a:gd name="connsiteY12" fmla="*/ 5607 h 10000"/>
              <a:gd name="connsiteX13" fmla="*/ 2273 w 9296"/>
              <a:gd name="connsiteY13" fmla="*/ 6131 h 10000"/>
              <a:gd name="connsiteX14" fmla="*/ 2273 w 9296"/>
              <a:gd name="connsiteY14" fmla="*/ 9477 h 10000"/>
              <a:gd name="connsiteX15" fmla="*/ 2306 w 9296"/>
              <a:gd name="connsiteY15" fmla="*/ 10000 h 10000"/>
              <a:gd name="connsiteX16" fmla="*/ 2595 w 9296"/>
              <a:gd name="connsiteY16" fmla="*/ 10000 h 10000"/>
              <a:gd name="connsiteX17" fmla="*/ 2628 w 9296"/>
              <a:gd name="connsiteY17" fmla="*/ 9477 h 10000"/>
              <a:gd name="connsiteX18" fmla="*/ 2628 w 9296"/>
              <a:gd name="connsiteY18" fmla="*/ 7178 h 10000"/>
              <a:gd name="connsiteX19" fmla="*/ 2660 w 9296"/>
              <a:gd name="connsiteY19" fmla="*/ 6654 h 10000"/>
              <a:gd name="connsiteX20" fmla="*/ 3015 w 9296"/>
              <a:gd name="connsiteY20" fmla="*/ 6654 h 10000"/>
              <a:gd name="connsiteX21" fmla="*/ 3048 w 9296"/>
              <a:gd name="connsiteY21" fmla="*/ 7178 h 10000"/>
              <a:gd name="connsiteX22" fmla="*/ 3048 w 9296"/>
              <a:gd name="connsiteY22" fmla="*/ 8411 h 10000"/>
              <a:gd name="connsiteX23" fmla="*/ 3081 w 9296"/>
              <a:gd name="connsiteY23" fmla="*/ 8935 h 10000"/>
              <a:gd name="connsiteX24" fmla="*/ 5535 w 9296"/>
              <a:gd name="connsiteY24" fmla="*/ 8935 h 10000"/>
              <a:gd name="connsiteX25" fmla="*/ 5567 w 9296"/>
              <a:gd name="connsiteY25" fmla="*/ 8411 h 10000"/>
              <a:gd name="connsiteX26" fmla="*/ 5567 w 9296"/>
              <a:gd name="connsiteY26" fmla="*/ 523 h 10000"/>
              <a:gd name="connsiteX27" fmla="*/ 5600 w 9296"/>
              <a:gd name="connsiteY27" fmla="*/ 0 h 10000"/>
              <a:gd name="connsiteX28" fmla="*/ 6409 w 9296"/>
              <a:gd name="connsiteY28" fmla="*/ 0 h 10000"/>
              <a:gd name="connsiteX29" fmla="*/ 6442 w 9296"/>
              <a:gd name="connsiteY29" fmla="*/ 523 h 10000"/>
              <a:gd name="connsiteX30" fmla="*/ 6442 w 9296"/>
              <a:gd name="connsiteY30" fmla="*/ 7159 h 10000"/>
              <a:gd name="connsiteX31" fmla="*/ 6475 w 9296"/>
              <a:gd name="connsiteY31" fmla="*/ 7682 h 10000"/>
              <a:gd name="connsiteX32" fmla="*/ 7705 w 9296"/>
              <a:gd name="connsiteY32" fmla="*/ 7682 h 10000"/>
              <a:gd name="connsiteX33" fmla="*/ 7738 w 9296"/>
              <a:gd name="connsiteY33" fmla="*/ 7159 h 10000"/>
              <a:gd name="connsiteX34" fmla="*/ 7738 w 9296"/>
              <a:gd name="connsiteY34" fmla="*/ 2075 h 10000"/>
              <a:gd name="connsiteX35" fmla="*/ 7771 w 9296"/>
              <a:gd name="connsiteY35" fmla="*/ 1551 h 10000"/>
              <a:gd name="connsiteX36" fmla="*/ 9296 w 9296"/>
              <a:gd name="connsiteY36" fmla="*/ 1551 h 10000"/>
              <a:gd name="connsiteX0" fmla="*/ 0 w 9965"/>
              <a:gd name="connsiteY0" fmla="*/ 6131 h 10000"/>
              <a:gd name="connsiteX1" fmla="*/ 0 w 9965"/>
              <a:gd name="connsiteY1" fmla="*/ 523 h 10000"/>
              <a:gd name="connsiteX2" fmla="*/ 36 w 9965"/>
              <a:gd name="connsiteY2" fmla="*/ 0 h 10000"/>
              <a:gd name="connsiteX3" fmla="*/ 418 w 9965"/>
              <a:gd name="connsiteY3" fmla="*/ 0 h 10000"/>
              <a:gd name="connsiteX4" fmla="*/ 453 w 9965"/>
              <a:gd name="connsiteY4" fmla="*/ 523 h 10000"/>
              <a:gd name="connsiteX5" fmla="*/ 453 w 9965"/>
              <a:gd name="connsiteY5" fmla="*/ 9477 h 10000"/>
              <a:gd name="connsiteX6" fmla="*/ 489 w 9965"/>
              <a:gd name="connsiteY6" fmla="*/ 10000 h 10000"/>
              <a:gd name="connsiteX7" fmla="*/ 1168 w 9965"/>
              <a:gd name="connsiteY7" fmla="*/ 10000 h 10000"/>
              <a:gd name="connsiteX8" fmla="*/ 1203 w 9965"/>
              <a:gd name="connsiteY8" fmla="*/ 9477 h 10000"/>
              <a:gd name="connsiteX9" fmla="*/ 1203 w 9965"/>
              <a:gd name="connsiteY9" fmla="*/ 6131 h 10000"/>
              <a:gd name="connsiteX10" fmla="*/ 1239 w 9965"/>
              <a:gd name="connsiteY10" fmla="*/ 5607 h 10000"/>
              <a:gd name="connsiteX11" fmla="*/ 2376 w 9965"/>
              <a:gd name="connsiteY11" fmla="*/ 5607 h 10000"/>
              <a:gd name="connsiteX12" fmla="*/ 2410 w 9965"/>
              <a:gd name="connsiteY12" fmla="*/ 6131 h 10000"/>
              <a:gd name="connsiteX13" fmla="*/ 2410 w 9965"/>
              <a:gd name="connsiteY13" fmla="*/ 9477 h 10000"/>
              <a:gd name="connsiteX14" fmla="*/ 2446 w 9965"/>
              <a:gd name="connsiteY14" fmla="*/ 10000 h 10000"/>
              <a:gd name="connsiteX15" fmla="*/ 2757 w 9965"/>
              <a:gd name="connsiteY15" fmla="*/ 10000 h 10000"/>
              <a:gd name="connsiteX16" fmla="*/ 2792 w 9965"/>
              <a:gd name="connsiteY16" fmla="*/ 9477 h 10000"/>
              <a:gd name="connsiteX17" fmla="*/ 2792 w 9965"/>
              <a:gd name="connsiteY17" fmla="*/ 7178 h 10000"/>
              <a:gd name="connsiteX18" fmla="*/ 2826 w 9965"/>
              <a:gd name="connsiteY18" fmla="*/ 6654 h 10000"/>
              <a:gd name="connsiteX19" fmla="*/ 3208 w 9965"/>
              <a:gd name="connsiteY19" fmla="*/ 6654 h 10000"/>
              <a:gd name="connsiteX20" fmla="*/ 3244 w 9965"/>
              <a:gd name="connsiteY20" fmla="*/ 7178 h 10000"/>
              <a:gd name="connsiteX21" fmla="*/ 3244 w 9965"/>
              <a:gd name="connsiteY21" fmla="*/ 8411 h 10000"/>
              <a:gd name="connsiteX22" fmla="*/ 3279 w 9965"/>
              <a:gd name="connsiteY22" fmla="*/ 8935 h 10000"/>
              <a:gd name="connsiteX23" fmla="*/ 5919 w 9965"/>
              <a:gd name="connsiteY23" fmla="*/ 8935 h 10000"/>
              <a:gd name="connsiteX24" fmla="*/ 5954 w 9965"/>
              <a:gd name="connsiteY24" fmla="*/ 8411 h 10000"/>
              <a:gd name="connsiteX25" fmla="*/ 5954 w 9965"/>
              <a:gd name="connsiteY25" fmla="*/ 523 h 10000"/>
              <a:gd name="connsiteX26" fmla="*/ 5989 w 9965"/>
              <a:gd name="connsiteY26" fmla="*/ 0 h 10000"/>
              <a:gd name="connsiteX27" fmla="*/ 6859 w 9965"/>
              <a:gd name="connsiteY27" fmla="*/ 0 h 10000"/>
              <a:gd name="connsiteX28" fmla="*/ 6895 w 9965"/>
              <a:gd name="connsiteY28" fmla="*/ 523 h 10000"/>
              <a:gd name="connsiteX29" fmla="*/ 6895 w 9965"/>
              <a:gd name="connsiteY29" fmla="*/ 7159 h 10000"/>
              <a:gd name="connsiteX30" fmla="*/ 6930 w 9965"/>
              <a:gd name="connsiteY30" fmla="*/ 7682 h 10000"/>
              <a:gd name="connsiteX31" fmla="*/ 8254 w 9965"/>
              <a:gd name="connsiteY31" fmla="*/ 7682 h 10000"/>
              <a:gd name="connsiteX32" fmla="*/ 8289 w 9965"/>
              <a:gd name="connsiteY32" fmla="*/ 7159 h 10000"/>
              <a:gd name="connsiteX33" fmla="*/ 8289 w 9965"/>
              <a:gd name="connsiteY33" fmla="*/ 2075 h 10000"/>
              <a:gd name="connsiteX34" fmla="*/ 8325 w 9965"/>
              <a:gd name="connsiteY34" fmla="*/ 1551 h 10000"/>
              <a:gd name="connsiteX35" fmla="*/ 9965 w 9965"/>
              <a:gd name="connsiteY35" fmla="*/ 1551 h 10000"/>
              <a:gd name="connsiteX0" fmla="*/ 0 w 10000"/>
              <a:gd name="connsiteY0" fmla="*/ 523 h 10000"/>
              <a:gd name="connsiteX1" fmla="*/ 36 w 10000"/>
              <a:gd name="connsiteY1" fmla="*/ 0 h 10000"/>
              <a:gd name="connsiteX2" fmla="*/ 419 w 10000"/>
              <a:gd name="connsiteY2" fmla="*/ 0 h 10000"/>
              <a:gd name="connsiteX3" fmla="*/ 455 w 10000"/>
              <a:gd name="connsiteY3" fmla="*/ 523 h 10000"/>
              <a:gd name="connsiteX4" fmla="*/ 455 w 10000"/>
              <a:gd name="connsiteY4" fmla="*/ 9477 h 10000"/>
              <a:gd name="connsiteX5" fmla="*/ 491 w 10000"/>
              <a:gd name="connsiteY5" fmla="*/ 10000 h 10000"/>
              <a:gd name="connsiteX6" fmla="*/ 1172 w 10000"/>
              <a:gd name="connsiteY6" fmla="*/ 10000 h 10000"/>
              <a:gd name="connsiteX7" fmla="*/ 1207 w 10000"/>
              <a:gd name="connsiteY7" fmla="*/ 9477 h 10000"/>
              <a:gd name="connsiteX8" fmla="*/ 1207 w 10000"/>
              <a:gd name="connsiteY8" fmla="*/ 6131 h 10000"/>
              <a:gd name="connsiteX9" fmla="*/ 1243 w 10000"/>
              <a:gd name="connsiteY9" fmla="*/ 5607 h 10000"/>
              <a:gd name="connsiteX10" fmla="*/ 2384 w 10000"/>
              <a:gd name="connsiteY10" fmla="*/ 5607 h 10000"/>
              <a:gd name="connsiteX11" fmla="*/ 2418 w 10000"/>
              <a:gd name="connsiteY11" fmla="*/ 6131 h 10000"/>
              <a:gd name="connsiteX12" fmla="*/ 2418 w 10000"/>
              <a:gd name="connsiteY12" fmla="*/ 9477 h 10000"/>
              <a:gd name="connsiteX13" fmla="*/ 2455 w 10000"/>
              <a:gd name="connsiteY13" fmla="*/ 10000 h 10000"/>
              <a:gd name="connsiteX14" fmla="*/ 2767 w 10000"/>
              <a:gd name="connsiteY14" fmla="*/ 10000 h 10000"/>
              <a:gd name="connsiteX15" fmla="*/ 2802 w 10000"/>
              <a:gd name="connsiteY15" fmla="*/ 9477 h 10000"/>
              <a:gd name="connsiteX16" fmla="*/ 2802 w 10000"/>
              <a:gd name="connsiteY16" fmla="*/ 7178 h 10000"/>
              <a:gd name="connsiteX17" fmla="*/ 2836 w 10000"/>
              <a:gd name="connsiteY17" fmla="*/ 6654 h 10000"/>
              <a:gd name="connsiteX18" fmla="*/ 3219 w 10000"/>
              <a:gd name="connsiteY18" fmla="*/ 6654 h 10000"/>
              <a:gd name="connsiteX19" fmla="*/ 3255 w 10000"/>
              <a:gd name="connsiteY19" fmla="*/ 7178 h 10000"/>
              <a:gd name="connsiteX20" fmla="*/ 3255 w 10000"/>
              <a:gd name="connsiteY20" fmla="*/ 8411 h 10000"/>
              <a:gd name="connsiteX21" fmla="*/ 3291 w 10000"/>
              <a:gd name="connsiteY21" fmla="*/ 8935 h 10000"/>
              <a:gd name="connsiteX22" fmla="*/ 5940 w 10000"/>
              <a:gd name="connsiteY22" fmla="*/ 8935 h 10000"/>
              <a:gd name="connsiteX23" fmla="*/ 5975 w 10000"/>
              <a:gd name="connsiteY23" fmla="*/ 8411 h 10000"/>
              <a:gd name="connsiteX24" fmla="*/ 5975 w 10000"/>
              <a:gd name="connsiteY24" fmla="*/ 523 h 10000"/>
              <a:gd name="connsiteX25" fmla="*/ 6010 w 10000"/>
              <a:gd name="connsiteY25" fmla="*/ 0 h 10000"/>
              <a:gd name="connsiteX26" fmla="*/ 6883 w 10000"/>
              <a:gd name="connsiteY26" fmla="*/ 0 h 10000"/>
              <a:gd name="connsiteX27" fmla="*/ 6919 w 10000"/>
              <a:gd name="connsiteY27" fmla="*/ 523 h 10000"/>
              <a:gd name="connsiteX28" fmla="*/ 6919 w 10000"/>
              <a:gd name="connsiteY28" fmla="*/ 7159 h 10000"/>
              <a:gd name="connsiteX29" fmla="*/ 6954 w 10000"/>
              <a:gd name="connsiteY29" fmla="*/ 7682 h 10000"/>
              <a:gd name="connsiteX30" fmla="*/ 8283 w 10000"/>
              <a:gd name="connsiteY30" fmla="*/ 7682 h 10000"/>
              <a:gd name="connsiteX31" fmla="*/ 8318 w 10000"/>
              <a:gd name="connsiteY31" fmla="*/ 7159 h 10000"/>
              <a:gd name="connsiteX32" fmla="*/ 8318 w 10000"/>
              <a:gd name="connsiteY32" fmla="*/ 2075 h 10000"/>
              <a:gd name="connsiteX33" fmla="*/ 8354 w 10000"/>
              <a:gd name="connsiteY33" fmla="*/ 1551 h 10000"/>
              <a:gd name="connsiteX34" fmla="*/ 10000 w 10000"/>
              <a:gd name="connsiteY34" fmla="*/ 1551 h 10000"/>
              <a:gd name="connsiteX0" fmla="*/ 0 w 9964"/>
              <a:gd name="connsiteY0" fmla="*/ 0 h 10000"/>
              <a:gd name="connsiteX1" fmla="*/ 383 w 9964"/>
              <a:gd name="connsiteY1" fmla="*/ 0 h 10000"/>
              <a:gd name="connsiteX2" fmla="*/ 419 w 9964"/>
              <a:gd name="connsiteY2" fmla="*/ 523 h 10000"/>
              <a:gd name="connsiteX3" fmla="*/ 419 w 9964"/>
              <a:gd name="connsiteY3" fmla="*/ 9477 h 10000"/>
              <a:gd name="connsiteX4" fmla="*/ 455 w 9964"/>
              <a:gd name="connsiteY4" fmla="*/ 10000 h 10000"/>
              <a:gd name="connsiteX5" fmla="*/ 1136 w 9964"/>
              <a:gd name="connsiteY5" fmla="*/ 10000 h 10000"/>
              <a:gd name="connsiteX6" fmla="*/ 1171 w 9964"/>
              <a:gd name="connsiteY6" fmla="*/ 9477 h 10000"/>
              <a:gd name="connsiteX7" fmla="*/ 1171 w 9964"/>
              <a:gd name="connsiteY7" fmla="*/ 6131 h 10000"/>
              <a:gd name="connsiteX8" fmla="*/ 1207 w 9964"/>
              <a:gd name="connsiteY8" fmla="*/ 5607 h 10000"/>
              <a:gd name="connsiteX9" fmla="*/ 2348 w 9964"/>
              <a:gd name="connsiteY9" fmla="*/ 5607 h 10000"/>
              <a:gd name="connsiteX10" fmla="*/ 2382 w 9964"/>
              <a:gd name="connsiteY10" fmla="*/ 6131 h 10000"/>
              <a:gd name="connsiteX11" fmla="*/ 2382 w 9964"/>
              <a:gd name="connsiteY11" fmla="*/ 9477 h 10000"/>
              <a:gd name="connsiteX12" fmla="*/ 2419 w 9964"/>
              <a:gd name="connsiteY12" fmla="*/ 10000 h 10000"/>
              <a:gd name="connsiteX13" fmla="*/ 2731 w 9964"/>
              <a:gd name="connsiteY13" fmla="*/ 10000 h 10000"/>
              <a:gd name="connsiteX14" fmla="*/ 2766 w 9964"/>
              <a:gd name="connsiteY14" fmla="*/ 9477 h 10000"/>
              <a:gd name="connsiteX15" fmla="*/ 2766 w 9964"/>
              <a:gd name="connsiteY15" fmla="*/ 7178 h 10000"/>
              <a:gd name="connsiteX16" fmla="*/ 2800 w 9964"/>
              <a:gd name="connsiteY16" fmla="*/ 6654 h 10000"/>
              <a:gd name="connsiteX17" fmla="*/ 3183 w 9964"/>
              <a:gd name="connsiteY17" fmla="*/ 6654 h 10000"/>
              <a:gd name="connsiteX18" fmla="*/ 3219 w 9964"/>
              <a:gd name="connsiteY18" fmla="*/ 7178 h 10000"/>
              <a:gd name="connsiteX19" fmla="*/ 3219 w 9964"/>
              <a:gd name="connsiteY19" fmla="*/ 8411 h 10000"/>
              <a:gd name="connsiteX20" fmla="*/ 3255 w 9964"/>
              <a:gd name="connsiteY20" fmla="*/ 8935 h 10000"/>
              <a:gd name="connsiteX21" fmla="*/ 5904 w 9964"/>
              <a:gd name="connsiteY21" fmla="*/ 8935 h 10000"/>
              <a:gd name="connsiteX22" fmla="*/ 5939 w 9964"/>
              <a:gd name="connsiteY22" fmla="*/ 8411 h 10000"/>
              <a:gd name="connsiteX23" fmla="*/ 5939 w 9964"/>
              <a:gd name="connsiteY23" fmla="*/ 523 h 10000"/>
              <a:gd name="connsiteX24" fmla="*/ 5974 w 9964"/>
              <a:gd name="connsiteY24" fmla="*/ 0 h 10000"/>
              <a:gd name="connsiteX25" fmla="*/ 6847 w 9964"/>
              <a:gd name="connsiteY25" fmla="*/ 0 h 10000"/>
              <a:gd name="connsiteX26" fmla="*/ 6883 w 9964"/>
              <a:gd name="connsiteY26" fmla="*/ 523 h 10000"/>
              <a:gd name="connsiteX27" fmla="*/ 6883 w 9964"/>
              <a:gd name="connsiteY27" fmla="*/ 7159 h 10000"/>
              <a:gd name="connsiteX28" fmla="*/ 6918 w 9964"/>
              <a:gd name="connsiteY28" fmla="*/ 7682 h 10000"/>
              <a:gd name="connsiteX29" fmla="*/ 8247 w 9964"/>
              <a:gd name="connsiteY29" fmla="*/ 7682 h 10000"/>
              <a:gd name="connsiteX30" fmla="*/ 8282 w 9964"/>
              <a:gd name="connsiteY30" fmla="*/ 7159 h 10000"/>
              <a:gd name="connsiteX31" fmla="*/ 8282 w 9964"/>
              <a:gd name="connsiteY31" fmla="*/ 2075 h 10000"/>
              <a:gd name="connsiteX32" fmla="*/ 8318 w 9964"/>
              <a:gd name="connsiteY32" fmla="*/ 1551 h 10000"/>
              <a:gd name="connsiteX33" fmla="*/ 9964 w 9964"/>
              <a:gd name="connsiteY33" fmla="*/ 1551 h 10000"/>
              <a:gd name="connsiteX0" fmla="*/ 0 w 9616"/>
              <a:gd name="connsiteY0" fmla="*/ 0 h 10000"/>
              <a:gd name="connsiteX1" fmla="*/ 37 w 9616"/>
              <a:gd name="connsiteY1" fmla="*/ 523 h 10000"/>
              <a:gd name="connsiteX2" fmla="*/ 37 w 9616"/>
              <a:gd name="connsiteY2" fmla="*/ 9477 h 10000"/>
              <a:gd name="connsiteX3" fmla="*/ 73 w 9616"/>
              <a:gd name="connsiteY3" fmla="*/ 10000 h 10000"/>
              <a:gd name="connsiteX4" fmla="*/ 756 w 9616"/>
              <a:gd name="connsiteY4" fmla="*/ 10000 h 10000"/>
              <a:gd name="connsiteX5" fmla="*/ 791 w 9616"/>
              <a:gd name="connsiteY5" fmla="*/ 9477 h 10000"/>
              <a:gd name="connsiteX6" fmla="*/ 791 w 9616"/>
              <a:gd name="connsiteY6" fmla="*/ 6131 h 10000"/>
              <a:gd name="connsiteX7" fmla="*/ 827 w 9616"/>
              <a:gd name="connsiteY7" fmla="*/ 5607 h 10000"/>
              <a:gd name="connsiteX8" fmla="*/ 1972 w 9616"/>
              <a:gd name="connsiteY8" fmla="*/ 5607 h 10000"/>
              <a:gd name="connsiteX9" fmla="*/ 2007 w 9616"/>
              <a:gd name="connsiteY9" fmla="*/ 6131 h 10000"/>
              <a:gd name="connsiteX10" fmla="*/ 2007 w 9616"/>
              <a:gd name="connsiteY10" fmla="*/ 9477 h 10000"/>
              <a:gd name="connsiteX11" fmla="*/ 2044 w 9616"/>
              <a:gd name="connsiteY11" fmla="*/ 10000 h 10000"/>
              <a:gd name="connsiteX12" fmla="*/ 2357 w 9616"/>
              <a:gd name="connsiteY12" fmla="*/ 10000 h 10000"/>
              <a:gd name="connsiteX13" fmla="*/ 2392 w 9616"/>
              <a:gd name="connsiteY13" fmla="*/ 9477 h 10000"/>
              <a:gd name="connsiteX14" fmla="*/ 2392 w 9616"/>
              <a:gd name="connsiteY14" fmla="*/ 7178 h 10000"/>
              <a:gd name="connsiteX15" fmla="*/ 2426 w 9616"/>
              <a:gd name="connsiteY15" fmla="*/ 6654 h 10000"/>
              <a:gd name="connsiteX16" fmla="*/ 2811 w 9616"/>
              <a:gd name="connsiteY16" fmla="*/ 6654 h 10000"/>
              <a:gd name="connsiteX17" fmla="*/ 2847 w 9616"/>
              <a:gd name="connsiteY17" fmla="*/ 7178 h 10000"/>
              <a:gd name="connsiteX18" fmla="*/ 2847 w 9616"/>
              <a:gd name="connsiteY18" fmla="*/ 8411 h 10000"/>
              <a:gd name="connsiteX19" fmla="*/ 2883 w 9616"/>
              <a:gd name="connsiteY19" fmla="*/ 8935 h 10000"/>
              <a:gd name="connsiteX20" fmla="*/ 5541 w 9616"/>
              <a:gd name="connsiteY20" fmla="*/ 8935 h 10000"/>
              <a:gd name="connsiteX21" fmla="*/ 5576 w 9616"/>
              <a:gd name="connsiteY21" fmla="*/ 8411 h 10000"/>
              <a:gd name="connsiteX22" fmla="*/ 5576 w 9616"/>
              <a:gd name="connsiteY22" fmla="*/ 523 h 10000"/>
              <a:gd name="connsiteX23" fmla="*/ 5612 w 9616"/>
              <a:gd name="connsiteY23" fmla="*/ 0 h 10000"/>
              <a:gd name="connsiteX24" fmla="*/ 6488 w 9616"/>
              <a:gd name="connsiteY24" fmla="*/ 0 h 10000"/>
              <a:gd name="connsiteX25" fmla="*/ 6524 w 9616"/>
              <a:gd name="connsiteY25" fmla="*/ 523 h 10000"/>
              <a:gd name="connsiteX26" fmla="*/ 6524 w 9616"/>
              <a:gd name="connsiteY26" fmla="*/ 7159 h 10000"/>
              <a:gd name="connsiteX27" fmla="*/ 6559 w 9616"/>
              <a:gd name="connsiteY27" fmla="*/ 7682 h 10000"/>
              <a:gd name="connsiteX28" fmla="*/ 7893 w 9616"/>
              <a:gd name="connsiteY28" fmla="*/ 7682 h 10000"/>
              <a:gd name="connsiteX29" fmla="*/ 7928 w 9616"/>
              <a:gd name="connsiteY29" fmla="*/ 7159 h 10000"/>
              <a:gd name="connsiteX30" fmla="*/ 7928 w 9616"/>
              <a:gd name="connsiteY30" fmla="*/ 2075 h 10000"/>
              <a:gd name="connsiteX31" fmla="*/ 7964 w 9616"/>
              <a:gd name="connsiteY31" fmla="*/ 1551 h 10000"/>
              <a:gd name="connsiteX32" fmla="*/ 9616 w 9616"/>
              <a:gd name="connsiteY32" fmla="*/ 1551 h 10000"/>
              <a:gd name="connsiteX0" fmla="*/ 0 w 9962"/>
              <a:gd name="connsiteY0" fmla="*/ 523 h 10000"/>
              <a:gd name="connsiteX1" fmla="*/ 0 w 9962"/>
              <a:gd name="connsiteY1" fmla="*/ 9477 h 10000"/>
              <a:gd name="connsiteX2" fmla="*/ 38 w 9962"/>
              <a:gd name="connsiteY2" fmla="*/ 10000 h 10000"/>
              <a:gd name="connsiteX3" fmla="*/ 748 w 9962"/>
              <a:gd name="connsiteY3" fmla="*/ 10000 h 10000"/>
              <a:gd name="connsiteX4" fmla="*/ 785 w 9962"/>
              <a:gd name="connsiteY4" fmla="*/ 9477 h 10000"/>
              <a:gd name="connsiteX5" fmla="*/ 785 w 9962"/>
              <a:gd name="connsiteY5" fmla="*/ 6131 h 10000"/>
              <a:gd name="connsiteX6" fmla="*/ 822 w 9962"/>
              <a:gd name="connsiteY6" fmla="*/ 5607 h 10000"/>
              <a:gd name="connsiteX7" fmla="*/ 2013 w 9962"/>
              <a:gd name="connsiteY7" fmla="*/ 5607 h 10000"/>
              <a:gd name="connsiteX8" fmla="*/ 2049 w 9962"/>
              <a:gd name="connsiteY8" fmla="*/ 6131 h 10000"/>
              <a:gd name="connsiteX9" fmla="*/ 2049 w 9962"/>
              <a:gd name="connsiteY9" fmla="*/ 9477 h 10000"/>
              <a:gd name="connsiteX10" fmla="*/ 2088 w 9962"/>
              <a:gd name="connsiteY10" fmla="*/ 10000 h 10000"/>
              <a:gd name="connsiteX11" fmla="*/ 2413 w 9962"/>
              <a:gd name="connsiteY11" fmla="*/ 10000 h 10000"/>
              <a:gd name="connsiteX12" fmla="*/ 2450 w 9962"/>
              <a:gd name="connsiteY12" fmla="*/ 9477 h 10000"/>
              <a:gd name="connsiteX13" fmla="*/ 2450 w 9962"/>
              <a:gd name="connsiteY13" fmla="*/ 7178 h 10000"/>
              <a:gd name="connsiteX14" fmla="*/ 2485 w 9962"/>
              <a:gd name="connsiteY14" fmla="*/ 6654 h 10000"/>
              <a:gd name="connsiteX15" fmla="*/ 2885 w 9962"/>
              <a:gd name="connsiteY15" fmla="*/ 6654 h 10000"/>
              <a:gd name="connsiteX16" fmla="*/ 2923 w 9962"/>
              <a:gd name="connsiteY16" fmla="*/ 7178 h 10000"/>
              <a:gd name="connsiteX17" fmla="*/ 2923 w 9962"/>
              <a:gd name="connsiteY17" fmla="*/ 8411 h 10000"/>
              <a:gd name="connsiteX18" fmla="*/ 2960 w 9962"/>
              <a:gd name="connsiteY18" fmla="*/ 8935 h 10000"/>
              <a:gd name="connsiteX19" fmla="*/ 5724 w 9962"/>
              <a:gd name="connsiteY19" fmla="*/ 8935 h 10000"/>
              <a:gd name="connsiteX20" fmla="*/ 5761 w 9962"/>
              <a:gd name="connsiteY20" fmla="*/ 8411 h 10000"/>
              <a:gd name="connsiteX21" fmla="*/ 5761 w 9962"/>
              <a:gd name="connsiteY21" fmla="*/ 523 h 10000"/>
              <a:gd name="connsiteX22" fmla="*/ 5798 w 9962"/>
              <a:gd name="connsiteY22" fmla="*/ 0 h 10000"/>
              <a:gd name="connsiteX23" fmla="*/ 6709 w 9962"/>
              <a:gd name="connsiteY23" fmla="*/ 0 h 10000"/>
              <a:gd name="connsiteX24" fmla="*/ 6747 w 9962"/>
              <a:gd name="connsiteY24" fmla="*/ 523 h 10000"/>
              <a:gd name="connsiteX25" fmla="*/ 6747 w 9962"/>
              <a:gd name="connsiteY25" fmla="*/ 7159 h 10000"/>
              <a:gd name="connsiteX26" fmla="*/ 6783 w 9962"/>
              <a:gd name="connsiteY26" fmla="*/ 7682 h 10000"/>
              <a:gd name="connsiteX27" fmla="*/ 8170 w 9962"/>
              <a:gd name="connsiteY27" fmla="*/ 7682 h 10000"/>
              <a:gd name="connsiteX28" fmla="*/ 8207 w 9962"/>
              <a:gd name="connsiteY28" fmla="*/ 7159 h 10000"/>
              <a:gd name="connsiteX29" fmla="*/ 8207 w 9962"/>
              <a:gd name="connsiteY29" fmla="*/ 2075 h 10000"/>
              <a:gd name="connsiteX30" fmla="*/ 8244 w 9962"/>
              <a:gd name="connsiteY30" fmla="*/ 1551 h 10000"/>
              <a:gd name="connsiteX31" fmla="*/ 9962 w 9962"/>
              <a:gd name="connsiteY31" fmla="*/ 1551 h 10000"/>
              <a:gd name="connsiteX0" fmla="*/ 0 w 10000"/>
              <a:gd name="connsiteY0" fmla="*/ 9477 h 10000"/>
              <a:gd name="connsiteX1" fmla="*/ 38 w 10000"/>
              <a:gd name="connsiteY1" fmla="*/ 10000 h 10000"/>
              <a:gd name="connsiteX2" fmla="*/ 751 w 10000"/>
              <a:gd name="connsiteY2" fmla="*/ 10000 h 10000"/>
              <a:gd name="connsiteX3" fmla="*/ 788 w 10000"/>
              <a:gd name="connsiteY3" fmla="*/ 9477 h 10000"/>
              <a:gd name="connsiteX4" fmla="*/ 788 w 10000"/>
              <a:gd name="connsiteY4" fmla="*/ 6131 h 10000"/>
              <a:gd name="connsiteX5" fmla="*/ 825 w 10000"/>
              <a:gd name="connsiteY5" fmla="*/ 5607 h 10000"/>
              <a:gd name="connsiteX6" fmla="*/ 2021 w 10000"/>
              <a:gd name="connsiteY6" fmla="*/ 5607 h 10000"/>
              <a:gd name="connsiteX7" fmla="*/ 2057 w 10000"/>
              <a:gd name="connsiteY7" fmla="*/ 6131 h 10000"/>
              <a:gd name="connsiteX8" fmla="*/ 2057 w 10000"/>
              <a:gd name="connsiteY8" fmla="*/ 9477 h 10000"/>
              <a:gd name="connsiteX9" fmla="*/ 2096 w 10000"/>
              <a:gd name="connsiteY9" fmla="*/ 10000 h 10000"/>
              <a:gd name="connsiteX10" fmla="*/ 2422 w 10000"/>
              <a:gd name="connsiteY10" fmla="*/ 10000 h 10000"/>
              <a:gd name="connsiteX11" fmla="*/ 2459 w 10000"/>
              <a:gd name="connsiteY11" fmla="*/ 9477 h 10000"/>
              <a:gd name="connsiteX12" fmla="*/ 2459 w 10000"/>
              <a:gd name="connsiteY12" fmla="*/ 7178 h 10000"/>
              <a:gd name="connsiteX13" fmla="*/ 2494 w 10000"/>
              <a:gd name="connsiteY13" fmla="*/ 6654 h 10000"/>
              <a:gd name="connsiteX14" fmla="*/ 2896 w 10000"/>
              <a:gd name="connsiteY14" fmla="*/ 6654 h 10000"/>
              <a:gd name="connsiteX15" fmla="*/ 2934 w 10000"/>
              <a:gd name="connsiteY15" fmla="*/ 7178 h 10000"/>
              <a:gd name="connsiteX16" fmla="*/ 2934 w 10000"/>
              <a:gd name="connsiteY16" fmla="*/ 8411 h 10000"/>
              <a:gd name="connsiteX17" fmla="*/ 2971 w 10000"/>
              <a:gd name="connsiteY17" fmla="*/ 8935 h 10000"/>
              <a:gd name="connsiteX18" fmla="*/ 5746 w 10000"/>
              <a:gd name="connsiteY18" fmla="*/ 8935 h 10000"/>
              <a:gd name="connsiteX19" fmla="*/ 5783 w 10000"/>
              <a:gd name="connsiteY19" fmla="*/ 8411 h 10000"/>
              <a:gd name="connsiteX20" fmla="*/ 5783 w 10000"/>
              <a:gd name="connsiteY20" fmla="*/ 523 h 10000"/>
              <a:gd name="connsiteX21" fmla="*/ 5820 w 10000"/>
              <a:gd name="connsiteY21" fmla="*/ 0 h 10000"/>
              <a:gd name="connsiteX22" fmla="*/ 6735 w 10000"/>
              <a:gd name="connsiteY22" fmla="*/ 0 h 10000"/>
              <a:gd name="connsiteX23" fmla="*/ 6773 w 10000"/>
              <a:gd name="connsiteY23" fmla="*/ 523 h 10000"/>
              <a:gd name="connsiteX24" fmla="*/ 6773 w 10000"/>
              <a:gd name="connsiteY24" fmla="*/ 7159 h 10000"/>
              <a:gd name="connsiteX25" fmla="*/ 6809 w 10000"/>
              <a:gd name="connsiteY25" fmla="*/ 7682 h 10000"/>
              <a:gd name="connsiteX26" fmla="*/ 8201 w 10000"/>
              <a:gd name="connsiteY26" fmla="*/ 7682 h 10000"/>
              <a:gd name="connsiteX27" fmla="*/ 8238 w 10000"/>
              <a:gd name="connsiteY27" fmla="*/ 7159 h 10000"/>
              <a:gd name="connsiteX28" fmla="*/ 8238 w 10000"/>
              <a:gd name="connsiteY28" fmla="*/ 2075 h 10000"/>
              <a:gd name="connsiteX29" fmla="*/ 8275 w 10000"/>
              <a:gd name="connsiteY29" fmla="*/ 1551 h 10000"/>
              <a:gd name="connsiteX30" fmla="*/ 10000 w 10000"/>
              <a:gd name="connsiteY30" fmla="*/ 1551 h 10000"/>
              <a:gd name="connsiteX0" fmla="*/ 0 w 9962"/>
              <a:gd name="connsiteY0" fmla="*/ 10000 h 10000"/>
              <a:gd name="connsiteX1" fmla="*/ 713 w 9962"/>
              <a:gd name="connsiteY1" fmla="*/ 10000 h 10000"/>
              <a:gd name="connsiteX2" fmla="*/ 750 w 9962"/>
              <a:gd name="connsiteY2" fmla="*/ 9477 h 10000"/>
              <a:gd name="connsiteX3" fmla="*/ 750 w 9962"/>
              <a:gd name="connsiteY3" fmla="*/ 6131 h 10000"/>
              <a:gd name="connsiteX4" fmla="*/ 787 w 9962"/>
              <a:gd name="connsiteY4" fmla="*/ 5607 h 10000"/>
              <a:gd name="connsiteX5" fmla="*/ 1983 w 9962"/>
              <a:gd name="connsiteY5" fmla="*/ 5607 h 10000"/>
              <a:gd name="connsiteX6" fmla="*/ 2019 w 9962"/>
              <a:gd name="connsiteY6" fmla="*/ 6131 h 10000"/>
              <a:gd name="connsiteX7" fmla="*/ 2019 w 9962"/>
              <a:gd name="connsiteY7" fmla="*/ 9477 h 10000"/>
              <a:gd name="connsiteX8" fmla="*/ 2058 w 9962"/>
              <a:gd name="connsiteY8" fmla="*/ 10000 h 10000"/>
              <a:gd name="connsiteX9" fmla="*/ 2384 w 9962"/>
              <a:gd name="connsiteY9" fmla="*/ 10000 h 10000"/>
              <a:gd name="connsiteX10" fmla="*/ 2421 w 9962"/>
              <a:gd name="connsiteY10" fmla="*/ 9477 h 10000"/>
              <a:gd name="connsiteX11" fmla="*/ 2421 w 9962"/>
              <a:gd name="connsiteY11" fmla="*/ 7178 h 10000"/>
              <a:gd name="connsiteX12" fmla="*/ 2456 w 9962"/>
              <a:gd name="connsiteY12" fmla="*/ 6654 h 10000"/>
              <a:gd name="connsiteX13" fmla="*/ 2858 w 9962"/>
              <a:gd name="connsiteY13" fmla="*/ 6654 h 10000"/>
              <a:gd name="connsiteX14" fmla="*/ 2896 w 9962"/>
              <a:gd name="connsiteY14" fmla="*/ 7178 h 10000"/>
              <a:gd name="connsiteX15" fmla="*/ 2896 w 9962"/>
              <a:gd name="connsiteY15" fmla="*/ 8411 h 10000"/>
              <a:gd name="connsiteX16" fmla="*/ 2933 w 9962"/>
              <a:gd name="connsiteY16" fmla="*/ 8935 h 10000"/>
              <a:gd name="connsiteX17" fmla="*/ 5708 w 9962"/>
              <a:gd name="connsiteY17" fmla="*/ 8935 h 10000"/>
              <a:gd name="connsiteX18" fmla="*/ 5745 w 9962"/>
              <a:gd name="connsiteY18" fmla="*/ 8411 h 10000"/>
              <a:gd name="connsiteX19" fmla="*/ 5745 w 9962"/>
              <a:gd name="connsiteY19" fmla="*/ 523 h 10000"/>
              <a:gd name="connsiteX20" fmla="*/ 5782 w 9962"/>
              <a:gd name="connsiteY20" fmla="*/ 0 h 10000"/>
              <a:gd name="connsiteX21" fmla="*/ 6697 w 9962"/>
              <a:gd name="connsiteY21" fmla="*/ 0 h 10000"/>
              <a:gd name="connsiteX22" fmla="*/ 6735 w 9962"/>
              <a:gd name="connsiteY22" fmla="*/ 523 h 10000"/>
              <a:gd name="connsiteX23" fmla="*/ 6735 w 9962"/>
              <a:gd name="connsiteY23" fmla="*/ 7159 h 10000"/>
              <a:gd name="connsiteX24" fmla="*/ 6771 w 9962"/>
              <a:gd name="connsiteY24" fmla="*/ 7682 h 10000"/>
              <a:gd name="connsiteX25" fmla="*/ 8163 w 9962"/>
              <a:gd name="connsiteY25" fmla="*/ 7682 h 10000"/>
              <a:gd name="connsiteX26" fmla="*/ 8200 w 9962"/>
              <a:gd name="connsiteY26" fmla="*/ 7159 h 10000"/>
              <a:gd name="connsiteX27" fmla="*/ 8200 w 9962"/>
              <a:gd name="connsiteY27" fmla="*/ 2075 h 10000"/>
              <a:gd name="connsiteX28" fmla="*/ 8237 w 9962"/>
              <a:gd name="connsiteY28" fmla="*/ 1551 h 10000"/>
              <a:gd name="connsiteX29" fmla="*/ 9962 w 9962"/>
              <a:gd name="connsiteY29" fmla="*/ 1551 h 10000"/>
              <a:gd name="connsiteX0" fmla="*/ 0 w 9284"/>
              <a:gd name="connsiteY0" fmla="*/ 10000 h 10000"/>
              <a:gd name="connsiteX1" fmla="*/ 37 w 9284"/>
              <a:gd name="connsiteY1" fmla="*/ 9477 h 10000"/>
              <a:gd name="connsiteX2" fmla="*/ 37 w 9284"/>
              <a:gd name="connsiteY2" fmla="*/ 6131 h 10000"/>
              <a:gd name="connsiteX3" fmla="*/ 74 w 9284"/>
              <a:gd name="connsiteY3" fmla="*/ 5607 h 10000"/>
              <a:gd name="connsiteX4" fmla="*/ 1275 w 9284"/>
              <a:gd name="connsiteY4" fmla="*/ 5607 h 10000"/>
              <a:gd name="connsiteX5" fmla="*/ 1311 w 9284"/>
              <a:gd name="connsiteY5" fmla="*/ 6131 h 10000"/>
              <a:gd name="connsiteX6" fmla="*/ 1311 w 9284"/>
              <a:gd name="connsiteY6" fmla="*/ 9477 h 10000"/>
              <a:gd name="connsiteX7" fmla="*/ 1350 w 9284"/>
              <a:gd name="connsiteY7" fmla="*/ 10000 h 10000"/>
              <a:gd name="connsiteX8" fmla="*/ 1677 w 9284"/>
              <a:gd name="connsiteY8" fmla="*/ 10000 h 10000"/>
              <a:gd name="connsiteX9" fmla="*/ 1714 w 9284"/>
              <a:gd name="connsiteY9" fmla="*/ 9477 h 10000"/>
              <a:gd name="connsiteX10" fmla="*/ 1714 w 9284"/>
              <a:gd name="connsiteY10" fmla="*/ 7178 h 10000"/>
              <a:gd name="connsiteX11" fmla="*/ 1749 w 9284"/>
              <a:gd name="connsiteY11" fmla="*/ 6654 h 10000"/>
              <a:gd name="connsiteX12" fmla="*/ 2153 w 9284"/>
              <a:gd name="connsiteY12" fmla="*/ 6654 h 10000"/>
              <a:gd name="connsiteX13" fmla="*/ 2191 w 9284"/>
              <a:gd name="connsiteY13" fmla="*/ 7178 h 10000"/>
              <a:gd name="connsiteX14" fmla="*/ 2191 w 9284"/>
              <a:gd name="connsiteY14" fmla="*/ 8411 h 10000"/>
              <a:gd name="connsiteX15" fmla="*/ 2228 w 9284"/>
              <a:gd name="connsiteY15" fmla="*/ 8935 h 10000"/>
              <a:gd name="connsiteX16" fmla="*/ 5014 w 9284"/>
              <a:gd name="connsiteY16" fmla="*/ 8935 h 10000"/>
              <a:gd name="connsiteX17" fmla="*/ 5051 w 9284"/>
              <a:gd name="connsiteY17" fmla="*/ 8411 h 10000"/>
              <a:gd name="connsiteX18" fmla="*/ 5051 w 9284"/>
              <a:gd name="connsiteY18" fmla="*/ 523 h 10000"/>
              <a:gd name="connsiteX19" fmla="*/ 5088 w 9284"/>
              <a:gd name="connsiteY19" fmla="*/ 0 h 10000"/>
              <a:gd name="connsiteX20" fmla="*/ 6007 w 9284"/>
              <a:gd name="connsiteY20" fmla="*/ 0 h 10000"/>
              <a:gd name="connsiteX21" fmla="*/ 6045 w 9284"/>
              <a:gd name="connsiteY21" fmla="*/ 523 h 10000"/>
              <a:gd name="connsiteX22" fmla="*/ 6045 w 9284"/>
              <a:gd name="connsiteY22" fmla="*/ 7159 h 10000"/>
              <a:gd name="connsiteX23" fmla="*/ 6081 w 9284"/>
              <a:gd name="connsiteY23" fmla="*/ 7682 h 10000"/>
              <a:gd name="connsiteX24" fmla="*/ 7478 w 9284"/>
              <a:gd name="connsiteY24" fmla="*/ 7682 h 10000"/>
              <a:gd name="connsiteX25" fmla="*/ 7515 w 9284"/>
              <a:gd name="connsiteY25" fmla="*/ 7159 h 10000"/>
              <a:gd name="connsiteX26" fmla="*/ 7515 w 9284"/>
              <a:gd name="connsiteY26" fmla="*/ 2075 h 10000"/>
              <a:gd name="connsiteX27" fmla="*/ 7552 w 9284"/>
              <a:gd name="connsiteY27" fmla="*/ 1551 h 10000"/>
              <a:gd name="connsiteX28" fmla="*/ 9284 w 9284"/>
              <a:gd name="connsiteY28" fmla="*/ 1551 h 10000"/>
              <a:gd name="connsiteX0" fmla="*/ 0 w 9960"/>
              <a:gd name="connsiteY0" fmla="*/ 9477 h 10000"/>
              <a:gd name="connsiteX1" fmla="*/ 0 w 9960"/>
              <a:gd name="connsiteY1" fmla="*/ 6131 h 10000"/>
              <a:gd name="connsiteX2" fmla="*/ 40 w 9960"/>
              <a:gd name="connsiteY2" fmla="*/ 5607 h 10000"/>
              <a:gd name="connsiteX3" fmla="*/ 1333 w 9960"/>
              <a:gd name="connsiteY3" fmla="*/ 5607 h 10000"/>
              <a:gd name="connsiteX4" fmla="*/ 1372 w 9960"/>
              <a:gd name="connsiteY4" fmla="*/ 6131 h 10000"/>
              <a:gd name="connsiteX5" fmla="*/ 1372 w 9960"/>
              <a:gd name="connsiteY5" fmla="*/ 9477 h 10000"/>
              <a:gd name="connsiteX6" fmla="*/ 1414 w 9960"/>
              <a:gd name="connsiteY6" fmla="*/ 10000 h 10000"/>
              <a:gd name="connsiteX7" fmla="*/ 1766 w 9960"/>
              <a:gd name="connsiteY7" fmla="*/ 10000 h 10000"/>
              <a:gd name="connsiteX8" fmla="*/ 1806 w 9960"/>
              <a:gd name="connsiteY8" fmla="*/ 9477 h 10000"/>
              <a:gd name="connsiteX9" fmla="*/ 1806 w 9960"/>
              <a:gd name="connsiteY9" fmla="*/ 7178 h 10000"/>
              <a:gd name="connsiteX10" fmla="*/ 1844 w 9960"/>
              <a:gd name="connsiteY10" fmla="*/ 6654 h 10000"/>
              <a:gd name="connsiteX11" fmla="*/ 2279 w 9960"/>
              <a:gd name="connsiteY11" fmla="*/ 6654 h 10000"/>
              <a:gd name="connsiteX12" fmla="*/ 2320 w 9960"/>
              <a:gd name="connsiteY12" fmla="*/ 7178 h 10000"/>
              <a:gd name="connsiteX13" fmla="*/ 2320 w 9960"/>
              <a:gd name="connsiteY13" fmla="*/ 8411 h 10000"/>
              <a:gd name="connsiteX14" fmla="*/ 2360 w 9960"/>
              <a:gd name="connsiteY14" fmla="*/ 8935 h 10000"/>
              <a:gd name="connsiteX15" fmla="*/ 5361 w 9960"/>
              <a:gd name="connsiteY15" fmla="*/ 8935 h 10000"/>
              <a:gd name="connsiteX16" fmla="*/ 5401 w 9960"/>
              <a:gd name="connsiteY16" fmla="*/ 8411 h 10000"/>
              <a:gd name="connsiteX17" fmla="*/ 5401 w 9960"/>
              <a:gd name="connsiteY17" fmla="*/ 523 h 10000"/>
              <a:gd name="connsiteX18" fmla="*/ 5440 w 9960"/>
              <a:gd name="connsiteY18" fmla="*/ 0 h 10000"/>
              <a:gd name="connsiteX19" fmla="*/ 6430 w 9960"/>
              <a:gd name="connsiteY19" fmla="*/ 0 h 10000"/>
              <a:gd name="connsiteX20" fmla="*/ 6471 w 9960"/>
              <a:gd name="connsiteY20" fmla="*/ 523 h 10000"/>
              <a:gd name="connsiteX21" fmla="*/ 6471 w 9960"/>
              <a:gd name="connsiteY21" fmla="*/ 7159 h 10000"/>
              <a:gd name="connsiteX22" fmla="*/ 6510 w 9960"/>
              <a:gd name="connsiteY22" fmla="*/ 7682 h 10000"/>
              <a:gd name="connsiteX23" fmla="*/ 8015 w 9960"/>
              <a:gd name="connsiteY23" fmla="*/ 7682 h 10000"/>
              <a:gd name="connsiteX24" fmla="*/ 8055 w 9960"/>
              <a:gd name="connsiteY24" fmla="*/ 7159 h 10000"/>
              <a:gd name="connsiteX25" fmla="*/ 8055 w 9960"/>
              <a:gd name="connsiteY25" fmla="*/ 2075 h 10000"/>
              <a:gd name="connsiteX26" fmla="*/ 8094 w 9960"/>
              <a:gd name="connsiteY26" fmla="*/ 1551 h 10000"/>
              <a:gd name="connsiteX27" fmla="*/ 9960 w 9960"/>
              <a:gd name="connsiteY27" fmla="*/ 1551 h 10000"/>
              <a:gd name="connsiteX0" fmla="*/ 0 w 10000"/>
              <a:gd name="connsiteY0" fmla="*/ 6131 h 10000"/>
              <a:gd name="connsiteX1" fmla="*/ 40 w 10000"/>
              <a:gd name="connsiteY1" fmla="*/ 5607 h 10000"/>
              <a:gd name="connsiteX2" fmla="*/ 1338 w 10000"/>
              <a:gd name="connsiteY2" fmla="*/ 5607 h 10000"/>
              <a:gd name="connsiteX3" fmla="*/ 1378 w 10000"/>
              <a:gd name="connsiteY3" fmla="*/ 6131 h 10000"/>
              <a:gd name="connsiteX4" fmla="*/ 1378 w 10000"/>
              <a:gd name="connsiteY4" fmla="*/ 9477 h 10000"/>
              <a:gd name="connsiteX5" fmla="*/ 1420 w 10000"/>
              <a:gd name="connsiteY5" fmla="*/ 10000 h 10000"/>
              <a:gd name="connsiteX6" fmla="*/ 1773 w 10000"/>
              <a:gd name="connsiteY6" fmla="*/ 10000 h 10000"/>
              <a:gd name="connsiteX7" fmla="*/ 1813 w 10000"/>
              <a:gd name="connsiteY7" fmla="*/ 9477 h 10000"/>
              <a:gd name="connsiteX8" fmla="*/ 1813 w 10000"/>
              <a:gd name="connsiteY8" fmla="*/ 7178 h 10000"/>
              <a:gd name="connsiteX9" fmla="*/ 1851 w 10000"/>
              <a:gd name="connsiteY9" fmla="*/ 6654 h 10000"/>
              <a:gd name="connsiteX10" fmla="*/ 2288 w 10000"/>
              <a:gd name="connsiteY10" fmla="*/ 6654 h 10000"/>
              <a:gd name="connsiteX11" fmla="*/ 2329 w 10000"/>
              <a:gd name="connsiteY11" fmla="*/ 7178 h 10000"/>
              <a:gd name="connsiteX12" fmla="*/ 2329 w 10000"/>
              <a:gd name="connsiteY12" fmla="*/ 8411 h 10000"/>
              <a:gd name="connsiteX13" fmla="*/ 2369 w 10000"/>
              <a:gd name="connsiteY13" fmla="*/ 8935 h 10000"/>
              <a:gd name="connsiteX14" fmla="*/ 5383 w 10000"/>
              <a:gd name="connsiteY14" fmla="*/ 8935 h 10000"/>
              <a:gd name="connsiteX15" fmla="*/ 5423 w 10000"/>
              <a:gd name="connsiteY15" fmla="*/ 8411 h 10000"/>
              <a:gd name="connsiteX16" fmla="*/ 5423 w 10000"/>
              <a:gd name="connsiteY16" fmla="*/ 523 h 10000"/>
              <a:gd name="connsiteX17" fmla="*/ 5462 w 10000"/>
              <a:gd name="connsiteY17" fmla="*/ 0 h 10000"/>
              <a:gd name="connsiteX18" fmla="*/ 6456 w 10000"/>
              <a:gd name="connsiteY18" fmla="*/ 0 h 10000"/>
              <a:gd name="connsiteX19" fmla="*/ 6497 w 10000"/>
              <a:gd name="connsiteY19" fmla="*/ 523 h 10000"/>
              <a:gd name="connsiteX20" fmla="*/ 6497 w 10000"/>
              <a:gd name="connsiteY20" fmla="*/ 7159 h 10000"/>
              <a:gd name="connsiteX21" fmla="*/ 6536 w 10000"/>
              <a:gd name="connsiteY21" fmla="*/ 7682 h 10000"/>
              <a:gd name="connsiteX22" fmla="*/ 8047 w 10000"/>
              <a:gd name="connsiteY22" fmla="*/ 7682 h 10000"/>
              <a:gd name="connsiteX23" fmla="*/ 8087 w 10000"/>
              <a:gd name="connsiteY23" fmla="*/ 7159 h 10000"/>
              <a:gd name="connsiteX24" fmla="*/ 8087 w 10000"/>
              <a:gd name="connsiteY24" fmla="*/ 2075 h 10000"/>
              <a:gd name="connsiteX25" fmla="*/ 8127 w 10000"/>
              <a:gd name="connsiteY25" fmla="*/ 1551 h 10000"/>
              <a:gd name="connsiteX26" fmla="*/ 10000 w 10000"/>
              <a:gd name="connsiteY26" fmla="*/ 1551 h 10000"/>
              <a:gd name="connsiteX0" fmla="*/ 0 w 8127"/>
              <a:gd name="connsiteY0" fmla="*/ 6131 h 10000"/>
              <a:gd name="connsiteX1" fmla="*/ 40 w 8127"/>
              <a:gd name="connsiteY1" fmla="*/ 5607 h 10000"/>
              <a:gd name="connsiteX2" fmla="*/ 1338 w 8127"/>
              <a:gd name="connsiteY2" fmla="*/ 5607 h 10000"/>
              <a:gd name="connsiteX3" fmla="*/ 1378 w 8127"/>
              <a:gd name="connsiteY3" fmla="*/ 6131 h 10000"/>
              <a:gd name="connsiteX4" fmla="*/ 1378 w 8127"/>
              <a:gd name="connsiteY4" fmla="*/ 9477 h 10000"/>
              <a:gd name="connsiteX5" fmla="*/ 1420 w 8127"/>
              <a:gd name="connsiteY5" fmla="*/ 10000 h 10000"/>
              <a:gd name="connsiteX6" fmla="*/ 1773 w 8127"/>
              <a:gd name="connsiteY6" fmla="*/ 10000 h 10000"/>
              <a:gd name="connsiteX7" fmla="*/ 1813 w 8127"/>
              <a:gd name="connsiteY7" fmla="*/ 9477 h 10000"/>
              <a:gd name="connsiteX8" fmla="*/ 1813 w 8127"/>
              <a:gd name="connsiteY8" fmla="*/ 7178 h 10000"/>
              <a:gd name="connsiteX9" fmla="*/ 1851 w 8127"/>
              <a:gd name="connsiteY9" fmla="*/ 6654 h 10000"/>
              <a:gd name="connsiteX10" fmla="*/ 2288 w 8127"/>
              <a:gd name="connsiteY10" fmla="*/ 6654 h 10000"/>
              <a:gd name="connsiteX11" fmla="*/ 2329 w 8127"/>
              <a:gd name="connsiteY11" fmla="*/ 7178 h 10000"/>
              <a:gd name="connsiteX12" fmla="*/ 2329 w 8127"/>
              <a:gd name="connsiteY12" fmla="*/ 8411 h 10000"/>
              <a:gd name="connsiteX13" fmla="*/ 2369 w 8127"/>
              <a:gd name="connsiteY13" fmla="*/ 8935 h 10000"/>
              <a:gd name="connsiteX14" fmla="*/ 5383 w 8127"/>
              <a:gd name="connsiteY14" fmla="*/ 8935 h 10000"/>
              <a:gd name="connsiteX15" fmla="*/ 5423 w 8127"/>
              <a:gd name="connsiteY15" fmla="*/ 8411 h 10000"/>
              <a:gd name="connsiteX16" fmla="*/ 5423 w 8127"/>
              <a:gd name="connsiteY16" fmla="*/ 523 h 10000"/>
              <a:gd name="connsiteX17" fmla="*/ 5462 w 8127"/>
              <a:gd name="connsiteY17" fmla="*/ 0 h 10000"/>
              <a:gd name="connsiteX18" fmla="*/ 6456 w 8127"/>
              <a:gd name="connsiteY18" fmla="*/ 0 h 10000"/>
              <a:gd name="connsiteX19" fmla="*/ 6497 w 8127"/>
              <a:gd name="connsiteY19" fmla="*/ 523 h 10000"/>
              <a:gd name="connsiteX20" fmla="*/ 6497 w 8127"/>
              <a:gd name="connsiteY20" fmla="*/ 7159 h 10000"/>
              <a:gd name="connsiteX21" fmla="*/ 6536 w 8127"/>
              <a:gd name="connsiteY21" fmla="*/ 7682 h 10000"/>
              <a:gd name="connsiteX22" fmla="*/ 8047 w 8127"/>
              <a:gd name="connsiteY22" fmla="*/ 7682 h 10000"/>
              <a:gd name="connsiteX23" fmla="*/ 8087 w 8127"/>
              <a:gd name="connsiteY23" fmla="*/ 7159 h 10000"/>
              <a:gd name="connsiteX24" fmla="*/ 8087 w 8127"/>
              <a:gd name="connsiteY24" fmla="*/ 2075 h 10000"/>
              <a:gd name="connsiteX25" fmla="*/ 8127 w 8127"/>
              <a:gd name="connsiteY25" fmla="*/ 1551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46 w 9951"/>
              <a:gd name="connsiteY2" fmla="*/ 5607 h 10000"/>
              <a:gd name="connsiteX3" fmla="*/ 1696 w 9951"/>
              <a:gd name="connsiteY3" fmla="*/ 6131 h 10000"/>
              <a:gd name="connsiteX4" fmla="*/ 1696 w 9951"/>
              <a:gd name="connsiteY4" fmla="*/ 9477 h 10000"/>
              <a:gd name="connsiteX5" fmla="*/ 1747 w 9951"/>
              <a:gd name="connsiteY5" fmla="*/ 10000 h 10000"/>
              <a:gd name="connsiteX6" fmla="*/ 2182 w 9951"/>
              <a:gd name="connsiteY6" fmla="*/ 10000 h 10000"/>
              <a:gd name="connsiteX7" fmla="*/ 2231 w 9951"/>
              <a:gd name="connsiteY7" fmla="*/ 9477 h 10000"/>
              <a:gd name="connsiteX8" fmla="*/ 2231 w 9951"/>
              <a:gd name="connsiteY8" fmla="*/ 7178 h 10000"/>
              <a:gd name="connsiteX9" fmla="*/ 2278 w 9951"/>
              <a:gd name="connsiteY9" fmla="*/ 6654 h 10000"/>
              <a:gd name="connsiteX10" fmla="*/ 2815 w 9951"/>
              <a:gd name="connsiteY10" fmla="*/ 6654 h 10000"/>
              <a:gd name="connsiteX11" fmla="*/ 2866 w 9951"/>
              <a:gd name="connsiteY11" fmla="*/ 7178 h 10000"/>
              <a:gd name="connsiteX12" fmla="*/ 2866 w 9951"/>
              <a:gd name="connsiteY12" fmla="*/ 8411 h 10000"/>
              <a:gd name="connsiteX13" fmla="*/ 2915 w 9951"/>
              <a:gd name="connsiteY13" fmla="*/ 8935 h 10000"/>
              <a:gd name="connsiteX14" fmla="*/ 6624 w 9951"/>
              <a:gd name="connsiteY14" fmla="*/ 8935 h 10000"/>
              <a:gd name="connsiteX15" fmla="*/ 6673 w 9951"/>
              <a:gd name="connsiteY15" fmla="*/ 8411 h 10000"/>
              <a:gd name="connsiteX16" fmla="*/ 6673 w 9951"/>
              <a:gd name="connsiteY16" fmla="*/ 523 h 10000"/>
              <a:gd name="connsiteX17" fmla="*/ 6721 w 9951"/>
              <a:gd name="connsiteY17" fmla="*/ 0 h 10000"/>
              <a:gd name="connsiteX18" fmla="*/ 7944 w 9951"/>
              <a:gd name="connsiteY18" fmla="*/ 0 h 10000"/>
              <a:gd name="connsiteX19" fmla="*/ 7994 w 9951"/>
              <a:gd name="connsiteY19" fmla="*/ 523 h 10000"/>
              <a:gd name="connsiteX20" fmla="*/ 7994 w 9951"/>
              <a:gd name="connsiteY20" fmla="*/ 7159 h 10000"/>
              <a:gd name="connsiteX21" fmla="*/ 8042 w 9951"/>
              <a:gd name="connsiteY21" fmla="*/ 7682 h 10000"/>
              <a:gd name="connsiteX22" fmla="*/ 9902 w 9951"/>
              <a:gd name="connsiteY22" fmla="*/ 7682 h 10000"/>
              <a:gd name="connsiteX23" fmla="*/ 9951 w 9951"/>
              <a:gd name="connsiteY23" fmla="*/ 7159 h 10000"/>
              <a:gd name="connsiteX24" fmla="*/ 9951 w 9951"/>
              <a:gd name="connsiteY24" fmla="*/ 2075 h 10000"/>
              <a:gd name="connsiteX0" fmla="*/ 0 w 10000"/>
              <a:gd name="connsiteY0" fmla="*/ 6131 h 10000"/>
              <a:gd name="connsiteX1" fmla="*/ 49 w 10000"/>
              <a:gd name="connsiteY1" fmla="*/ 5607 h 10000"/>
              <a:gd name="connsiteX2" fmla="*/ 1654 w 10000"/>
              <a:gd name="connsiteY2" fmla="*/ 5607 h 10000"/>
              <a:gd name="connsiteX3" fmla="*/ 1704 w 10000"/>
              <a:gd name="connsiteY3" fmla="*/ 6131 h 10000"/>
              <a:gd name="connsiteX4" fmla="*/ 1704 w 10000"/>
              <a:gd name="connsiteY4" fmla="*/ 9477 h 10000"/>
              <a:gd name="connsiteX5" fmla="*/ 1756 w 10000"/>
              <a:gd name="connsiteY5" fmla="*/ 10000 h 10000"/>
              <a:gd name="connsiteX6" fmla="*/ 2193 w 10000"/>
              <a:gd name="connsiteY6" fmla="*/ 10000 h 10000"/>
              <a:gd name="connsiteX7" fmla="*/ 2242 w 10000"/>
              <a:gd name="connsiteY7" fmla="*/ 9477 h 10000"/>
              <a:gd name="connsiteX8" fmla="*/ 2242 w 10000"/>
              <a:gd name="connsiteY8" fmla="*/ 7178 h 10000"/>
              <a:gd name="connsiteX9" fmla="*/ 2289 w 10000"/>
              <a:gd name="connsiteY9" fmla="*/ 6654 h 10000"/>
              <a:gd name="connsiteX10" fmla="*/ 2829 w 10000"/>
              <a:gd name="connsiteY10" fmla="*/ 6654 h 10000"/>
              <a:gd name="connsiteX11" fmla="*/ 2880 w 10000"/>
              <a:gd name="connsiteY11" fmla="*/ 7178 h 10000"/>
              <a:gd name="connsiteX12" fmla="*/ 2880 w 10000"/>
              <a:gd name="connsiteY12" fmla="*/ 8411 h 10000"/>
              <a:gd name="connsiteX13" fmla="*/ 2929 w 10000"/>
              <a:gd name="connsiteY13" fmla="*/ 8935 h 10000"/>
              <a:gd name="connsiteX14" fmla="*/ 6657 w 10000"/>
              <a:gd name="connsiteY14" fmla="*/ 8935 h 10000"/>
              <a:gd name="connsiteX15" fmla="*/ 6706 w 10000"/>
              <a:gd name="connsiteY15" fmla="*/ 8411 h 10000"/>
              <a:gd name="connsiteX16" fmla="*/ 6706 w 10000"/>
              <a:gd name="connsiteY16" fmla="*/ 523 h 10000"/>
              <a:gd name="connsiteX17" fmla="*/ 6754 w 10000"/>
              <a:gd name="connsiteY17" fmla="*/ 0 h 10000"/>
              <a:gd name="connsiteX18" fmla="*/ 7983 w 10000"/>
              <a:gd name="connsiteY18" fmla="*/ 0 h 10000"/>
              <a:gd name="connsiteX19" fmla="*/ 8033 w 10000"/>
              <a:gd name="connsiteY19" fmla="*/ 523 h 10000"/>
              <a:gd name="connsiteX20" fmla="*/ 8033 w 10000"/>
              <a:gd name="connsiteY20" fmla="*/ 7159 h 10000"/>
              <a:gd name="connsiteX21" fmla="*/ 8082 w 10000"/>
              <a:gd name="connsiteY21" fmla="*/ 7682 h 10000"/>
              <a:gd name="connsiteX22" fmla="*/ 9951 w 10000"/>
              <a:gd name="connsiteY22" fmla="*/ 7682 h 10000"/>
              <a:gd name="connsiteX23" fmla="*/ 10000 w 10000"/>
              <a:gd name="connsiteY23" fmla="*/ 7159 h 10000"/>
              <a:gd name="connsiteX0" fmla="*/ 0 w 9951"/>
              <a:gd name="connsiteY0" fmla="*/ 6131 h 10000"/>
              <a:gd name="connsiteX1" fmla="*/ 49 w 9951"/>
              <a:gd name="connsiteY1" fmla="*/ 5607 h 10000"/>
              <a:gd name="connsiteX2" fmla="*/ 1654 w 9951"/>
              <a:gd name="connsiteY2" fmla="*/ 5607 h 10000"/>
              <a:gd name="connsiteX3" fmla="*/ 1704 w 9951"/>
              <a:gd name="connsiteY3" fmla="*/ 6131 h 10000"/>
              <a:gd name="connsiteX4" fmla="*/ 1704 w 9951"/>
              <a:gd name="connsiteY4" fmla="*/ 9477 h 10000"/>
              <a:gd name="connsiteX5" fmla="*/ 1756 w 9951"/>
              <a:gd name="connsiteY5" fmla="*/ 10000 h 10000"/>
              <a:gd name="connsiteX6" fmla="*/ 2193 w 9951"/>
              <a:gd name="connsiteY6" fmla="*/ 10000 h 10000"/>
              <a:gd name="connsiteX7" fmla="*/ 2242 w 9951"/>
              <a:gd name="connsiteY7" fmla="*/ 9477 h 10000"/>
              <a:gd name="connsiteX8" fmla="*/ 2242 w 9951"/>
              <a:gd name="connsiteY8" fmla="*/ 7178 h 10000"/>
              <a:gd name="connsiteX9" fmla="*/ 2289 w 9951"/>
              <a:gd name="connsiteY9" fmla="*/ 6654 h 10000"/>
              <a:gd name="connsiteX10" fmla="*/ 2829 w 9951"/>
              <a:gd name="connsiteY10" fmla="*/ 6654 h 10000"/>
              <a:gd name="connsiteX11" fmla="*/ 2880 w 9951"/>
              <a:gd name="connsiteY11" fmla="*/ 7178 h 10000"/>
              <a:gd name="connsiteX12" fmla="*/ 2880 w 9951"/>
              <a:gd name="connsiteY12" fmla="*/ 8411 h 10000"/>
              <a:gd name="connsiteX13" fmla="*/ 2929 w 9951"/>
              <a:gd name="connsiteY13" fmla="*/ 8935 h 10000"/>
              <a:gd name="connsiteX14" fmla="*/ 6657 w 9951"/>
              <a:gd name="connsiteY14" fmla="*/ 8935 h 10000"/>
              <a:gd name="connsiteX15" fmla="*/ 6706 w 9951"/>
              <a:gd name="connsiteY15" fmla="*/ 8411 h 10000"/>
              <a:gd name="connsiteX16" fmla="*/ 6706 w 9951"/>
              <a:gd name="connsiteY16" fmla="*/ 523 h 10000"/>
              <a:gd name="connsiteX17" fmla="*/ 6754 w 9951"/>
              <a:gd name="connsiteY17" fmla="*/ 0 h 10000"/>
              <a:gd name="connsiteX18" fmla="*/ 7983 w 9951"/>
              <a:gd name="connsiteY18" fmla="*/ 0 h 10000"/>
              <a:gd name="connsiteX19" fmla="*/ 8033 w 9951"/>
              <a:gd name="connsiteY19" fmla="*/ 523 h 10000"/>
              <a:gd name="connsiteX20" fmla="*/ 8033 w 9951"/>
              <a:gd name="connsiteY20" fmla="*/ 7159 h 10000"/>
              <a:gd name="connsiteX21" fmla="*/ 8082 w 9951"/>
              <a:gd name="connsiteY21" fmla="*/ 7682 h 10000"/>
              <a:gd name="connsiteX22" fmla="*/ 9951 w 9951"/>
              <a:gd name="connsiteY22" fmla="*/ 7682 h 10000"/>
              <a:gd name="connsiteX0" fmla="*/ 0 w 10000"/>
              <a:gd name="connsiteY0" fmla="*/ 6131 h 10000"/>
              <a:gd name="connsiteX1" fmla="*/ 1662 w 10000"/>
              <a:gd name="connsiteY1" fmla="*/ 5607 h 10000"/>
              <a:gd name="connsiteX2" fmla="*/ 1712 w 10000"/>
              <a:gd name="connsiteY2" fmla="*/ 6131 h 10000"/>
              <a:gd name="connsiteX3" fmla="*/ 1712 w 10000"/>
              <a:gd name="connsiteY3" fmla="*/ 9477 h 10000"/>
              <a:gd name="connsiteX4" fmla="*/ 1765 w 10000"/>
              <a:gd name="connsiteY4" fmla="*/ 10000 h 10000"/>
              <a:gd name="connsiteX5" fmla="*/ 2204 w 10000"/>
              <a:gd name="connsiteY5" fmla="*/ 10000 h 10000"/>
              <a:gd name="connsiteX6" fmla="*/ 2253 w 10000"/>
              <a:gd name="connsiteY6" fmla="*/ 9477 h 10000"/>
              <a:gd name="connsiteX7" fmla="*/ 2253 w 10000"/>
              <a:gd name="connsiteY7" fmla="*/ 7178 h 10000"/>
              <a:gd name="connsiteX8" fmla="*/ 2300 w 10000"/>
              <a:gd name="connsiteY8" fmla="*/ 6654 h 10000"/>
              <a:gd name="connsiteX9" fmla="*/ 2843 w 10000"/>
              <a:gd name="connsiteY9" fmla="*/ 6654 h 10000"/>
              <a:gd name="connsiteX10" fmla="*/ 2894 w 10000"/>
              <a:gd name="connsiteY10" fmla="*/ 7178 h 10000"/>
              <a:gd name="connsiteX11" fmla="*/ 2894 w 10000"/>
              <a:gd name="connsiteY11" fmla="*/ 8411 h 10000"/>
              <a:gd name="connsiteX12" fmla="*/ 2943 w 10000"/>
              <a:gd name="connsiteY12" fmla="*/ 8935 h 10000"/>
              <a:gd name="connsiteX13" fmla="*/ 6690 w 10000"/>
              <a:gd name="connsiteY13" fmla="*/ 8935 h 10000"/>
              <a:gd name="connsiteX14" fmla="*/ 6739 w 10000"/>
              <a:gd name="connsiteY14" fmla="*/ 8411 h 10000"/>
              <a:gd name="connsiteX15" fmla="*/ 6739 w 10000"/>
              <a:gd name="connsiteY15" fmla="*/ 523 h 10000"/>
              <a:gd name="connsiteX16" fmla="*/ 6787 w 10000"/>
              <a:gd name="connsiteY16" fmla="*/ 0 h 10000"/>
              <a:gd name="connsiteX17" fmla="*/ 8022 w 10000"/>
              <a:gd name="connsiteY17" fmla="*/ 0 h 10000"/>
              <a:gd name="connsiteX18" fmla="*/ 8073 w 10000"/>
              <a:gd name="connsiteY18" fmla="*/ 523 h 10000"/>
              <a:gd name="connsiteX19" fmla="*/ 8073 w 10000"/>
              <a:gd name="connsiteY19" fmla="*/ 7159 h 10000"/>
              <a:gd name="connsiteX20" fmla="*/ 8122 w 10000"/>
              <a:gd name="connsiteY20" fmla="*/ 7682 h 10000"/>
              <a:gd name="connsiteX21" fmla="*/ 10000 w 10000"/>
              <a:gd name="connsiteY21" fmla="*/ 7682 h 10000"/>
              <a:gd name="connsiteX0" fmla="*/ 0 w 8657"/>
              <a:gd name="connsiteY0" fmla="*/ 5687 h 10000"/>
              <a:gd name="connsiteX1" fmla="*/ 319 w 8657"/>
              <a:gd name="connsiteY1" fmla="*/ 5607 h 10000"/>
              <a:gd name="connsiteX2" fmla="*/ 369 w 8657"/>
              <a:gd name="connsiteY2" fmla="*/ 6131 h 10000"/>
              <a:gd name="connsiteX3" fmla="*/ 369 w 8657"/>
              <a:gd name="connsiteY3" fmla="*/ 9477 h 10000"/>
              <a:gd name="connsiteX4" fmla="*/ 422 w 8657"/>
              <a:gd name="connsiteY4" fmla="*/ 10000 h 10000"/>
              <a:gd name="connsiteX5" fmla="*/ 861 w 8657"/>
              <a:gd name="connsiteY5" fmla="*/ 10000 h 10000"/>
              <a:gd name="connsiteX6" fmla="*/ 910 w 8657"/>
              <a:gd name="connsiteY6" fmla="*/ 9477 h 10000"/>
              <a:gd name="connsiteX7" fmla="*/ 910 w 8657"/>
              <a:gd name="connsiteY7" fmla="*/ 7178 h 10000"/>
              <a:gd name="connsiteX8" fmla="*/ 957 w 8657"/>
              <a:gd name="connsiteY8" fmla="*/ 6654 h 10000"/>
              <a:gd name="connsiteX9" fmla="*/ 1500 w 8657"/>
              <a:gd name="connsiteY9" fmla="*/ 6654 h 10000"/>
              <a:gd name="connsiteX10" fmla="*/ 1551 w 8657"/>
              <a:gd name="connsiteY10" fmla="*/ 7178 h 10000"/>
              <a:gd name="connsiteX11" fmla="*/ 1551 w 8657"/>
              <a:gd name="connsiteY11" fmla="*/ 8411 h 10000"/>
              <a:gd name="connsiteX12" fmla="*/ 1600 w 8657"/>
              <a:gd name="connsiteY12" fmla="*/ 8935 h 10000"/>
              <a:gd name="connsiteX13" fmla="*/ 5347 w 8657"/>
              <a:gd name="connsiteY13" fmla="*/ 8935 h 10000"/>
              <a:gd name="connsiteX14" fmla="*/ 5396 w 8657"/>
              <a:gd name="connsiteY14" fmla="*/ 8411 h 10000"/>
              <a:gd name="connsiteX15" fmla="*/ 5396 w 8657"/>
              <a:gd name="connsiteY15" fmla="*/ 523 h 10000"/>
              <a:gd name="connsiteX16" fmla="*/ 5444 w 8657"/>
              <a:gd name="connsiteY16" fmla="*/ 0 h 10000"/>
              <a:gd name="connsiteX17" fmla="*/ 6679 w 8657"/>
              <a:gd name="connsiteY17" fmla="*/ 0 h 10000"/>
              <a:gd name="connsiteX18" fmla="*/ 6730 w 8657"/>
              <a:gd name="connsiteY18" fmla="*/ 523 h 10000"/>
              <a:gd name="connsiteX19" fmla="*/ 6730 w 8657"/>
              <a:gd name="connsiteY19" fmla="*/ 7159 h 10000"/>
              <a:gd name="connsiteX20" fmla="*/ 6779 w 8657"/>
              <a:gd name="connsiteY20" fmla="*/ 7682 h 10000"/>
              <a:gd name="connsiteX21" fmla="*/ 8657 w 8657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583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10000"/>
              <a:gd name="connsiteY0" fmla="*/ 5609 h 10000"/>
              <a:gd name="connsiteX1" fmla="*/ 368 w 10000"/>
              <a:gd name="connsiteY1" fmla="*/ 5607 h 10000"/>
              <a:gd name="connsiteX2" fmla="*/ 426 w 10000"/>
              <a:gd name="connsiteY2" fmla="*/ 6131 h 10000"/>
              <a:gd name="connsiteX3" fmla="*/ 426 w 10000"/>
              <a:gd name="connsiteY3" fmla="*/ 9477 h 10000"/>
              <a:gd name="connsiteX4" fmla="*/ 487 w 10000"/>
              <a:gd name="connsiteY4" fmla="*/ 10000 h 10000"/>
              <a:gd name="connsiteX5" fmla="*/ 995 w 10000"/>
              <a:gd name="connsiteY5" fmla="*/ 10000 h 10000"/>
              <a:gd name="connsiteX6" fmla="*/ 1051 w 10000"/>
              <a:gd name="connsiteY6" fmla="*/ 9477 h 10000"/>
              <a:gd name="connsiteX7" fmla="*/ 1051 w 10000"/>
              <a:gd name="connsiteY7" fmla="*/ 7178 h 10000"/>
              <a:gd name="connsiteX8" fmla="*/ 1105 w 10000"/>
              <a:gd name="connsiteY8" fmla="*/ 6654 h 10000"/>
              <a:gd name="connsiteX9" fmla="*/ 1733 w 10000"/>
              <a:gd name="connsiteY9" fmla="*/ 6654 h 10000"/>
              <a:gd name="connsiteX10" fmla="*/ 1792 w 10000"/>
              <a:gd name="connsiteY10" fmla="*/ 7178 h 10000"/>
              <a:gd name="connsiteX11" fmla="*/ 1792 w 10000"/>
              <a:gd name="connsiteY11" fmla="*/ 8411 h 10000"/>
              <a:gd name="connsiteX12" fmla="*/ 1848 w 10000"/>
              <a:gd name="connsiteY12" fmla="*/ 8935 h 10000"/>
              <a:gd name="connsiteX13" fmla="*/ 6177 w 10000"/>
              <a:gd name="connsiteY13" fmla="*/ 8935 h 10000"/>
              <a:gd name="connsiteX14" fmla="*/ 6233 w 10000"/>
              <a:gd name="connsiteY14" fmla="*/ 8411 h 10000"/>
              <a:gd name="connsiteX15" fmla="*/ 6233 w 10000"/>
              <a:gd name="connsiteY15" fmla="*/ 523 h 10000"/>
              <a:gd name="connsiteX16" fmla="*/ 6289 w 10000"/>
              <a:gd name="connsiteY16" fmla="*/ 0 h 10000"/>
              <a:gd name="connsiteX17" fmla="*/ 7715 w 10000"/>
              <a:gd name="connsiteY17" fmla="*/ 0 h 10000"/>
              <a:gd name="connsiteX18" fmla="*/ 7774 w 10000"/>
              <a:gd name="connsiteY18" fmla="*/ 523 h 10000"/>
              <a:gd name="connsiteX19" fmla="*/ 7774 w 10000"/>
              <a:gd name="connsiteY19" fmla="*/ 7159 h 10000"/>
              <a:gd name="connsiteX20" fmla="*/ 7831 w 10000"/>
              <a:gd name="connsiteY20" fmla="*/ 7682 h 10000"/>
              <a:gd name="connsiteX21" fmla="*/ 10000 w 10000"/>
              <a:gd name="connsiteY21" fmla="*/ 7682 h 10000"/>
              <a:gd name="connsiteX0" fmla="*/ 0 w 8282"/>
              <a:gd name="connsiteY0" fmla="*/ 5609 h 10000"/>
              <a:gd name="connsiteX1" fmla="*/ 368 w 8282"/>
              <a:gd name="connsiteY1" fmla="*/ 5607 h 10000"/>
              <a:gd name="connsiteX2" fmla="*/ 426 w 8282"/>
              <a:gd name="connsiteY2" fmla="*/ 6131 h 10000"/>
              <a:gd name="connsiteX3" fmla="*/ 426 w 8282"/>
              <a:gd name="connsiteY3" fmla="*/ 9477 h 10000"/>
              <a:gd name="connsiteX4" fmla="*/ 487 w 8282"/>
              <a:gd name="connsiteY4" fmla="*/ 10000 h 10000"/>
              <a:gd name="connsiteX5" fmla="*/ 995 w 8282"/>
              <a:gd name="connsiteY5" fmla="*/ 10000 h 10000"/>
              <a:gd name="connsiteX6" fmla="*/ 1051 w 8282"/>
              <a:gd name="connsiteY6" fmla="*/ 9477 h 10000"/>
              <a:gd name="connsiteX7" fmla="*/ 1051 w 8282"/>
              <a:gd name="connsiteY7" fmla="*/ 7178 h 10000"/>
              <a:gd name="connsiteX8" fmla="*/ 1105 w 8282"/>
              <a:gd name="connsiteY8" fmla="*/ 6654 h 10000"/>
              <a:gd name="connsiteX9" fmla="*/ 1733 w 8282"/>
              <a:gd name="connsiteY9" fmla="*/ 6654 h 10000"/>
              <a:gd name="connsiteX10" fmla="*/ 1792 w 8282"/>
              <a:gd name="connsiteY10" fmla="*/ 7178 h 10000"/>
              <a:gd name="connsiteX11" fmla="*/ 1792 w 8282"/>
              <a:gd name="connsiteY11" fmla="*/ 8411 h 10000"/>
              <a:gd name="connsiteX12" fmla="*/ 1848 w 8282"/>
              <a:gd name="connsiteY12" fmla="*/ 8935 h 10000"/>
              <a:gd name="connsiteX13" fmla="*/ 6177 w 8282"/>
              <a:gd name="connsiteY13" fmla="*/ 8935 h 10000"/>
              <a:gd name="connsiteX14" fmla="*/ 6233 w 8282"/>
              <a:gd name="connsiteY14" fmla="*/ 8411 h 10000"/>
              <a:gd name="connsiteX15" fmla="*/ 6233 w 8282"/>
              <a:gd name="connsiteY15" fmla="*/ 523 h 10000"/>
              <a:gd name="connsiteX16" fmla="*/ 6289 w 8282"/>
              <a:gd name="connsiteY16" fmla="*/ 0 h 10000"/>
              <a:gd name="connsiteX17" fmla="*/ 7715 w 8282"/>
              <a:gd name="connsiteY17" fmla="*/ 0 h 10000"/>
              <a:gd name="connsiteX18" fmla="*/ 7774 w 8282"/>
              <a:gd name="connsiteY18" fmla="*/ 523 h 10000"/>
              <a:gd name="connsiteX19" fmla="*/ 7774 w 8282"/>
              <a:gd name="connsiteY19" fmla="*/ 7159 h 10000"/>
              <a:gd name="connsiteX20" fmla="*/ 7831 w 8282"/>
              <a:gd name="connsiteY20" fmla="*/ 7682 h 10000"/>
              <a:gd name="connsiteX21" fmla="*/ 8282 w 8282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44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58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  <a:gd name="connsiteX0" fmla="*/ 0 w 10017"/>
              <a:gd name="connsiteY0" fmla="*/ 5609 h 10000"/>
              <a:gd name="connsiteX1" fmla="*/ 436 w 10017"/>
              <a:gd name="connsiteY1" fmla="*/ 5607 h 10000"/>
              <a:gd name="connsiteX2" fmla="*/ 514 w 10017"/>
              <a:gd name="connsiteY2" fmla="*/ 6131 h 10000"/>
              <a:gd name="connsiteX3" fmla="*/ 514 w 10017"/>
              <a:gd name="connsiteY3" fmla="*/ 9477 h 10000"/>
              <a:gd name="connsiteX4" fmla="*/ 588 w 10017"/>
              <a:gd name="connsiteY4" fmla="*/ 10000 h 10000"/>
              <a:gd name="connsiteX5" fmla="*/ 1201 w 10017"/>
              <a:gd name="connsiteY5" fmla="*/ 10000 h 10000"/>
              <a:gd name="connsiteX6" fmla="*/ 1269 w 10017"/>
              <a:gd name="connsiteY6" fmla="*/ 9477 h 10000"/>
              <a:gd name="connsiteX7" fmla="*/ 1269 w 10017"/>
              <a:gd name="connsiteY7" fmla="*/ 7178 h 10000"/>
              <a:gd name="connsiteX8" fmla="*/ 1334 w 10017"/>
              <a:gd name="connsiteY8" fmla="*/ 6654 h 10000"/>
              <a:gd name="connsiteX9" fmla="*/ 2092 w 10017"/>
              <a:gd name="connsiteY9" fmla="*/ 6654 h 10000"/>
              <a:gd name="connsiteX10" fmla="*/ 2164 w 10017"/>
              <a:gd name="connsiteY10" fmla="*/ 7178 h 10000"/>
              <a:gd name="connsiteX11" fmla="*/ 2164 w 10017"/>
              <a:gd name="connsiteY11" fmla="*/ 8411 h 10000"/>
              <a:gd name="connsiteX12" fmla="*/ 2231 w 10017"/>
              <a:gd name="connsiteY12" fmla="*/ 8935 h 10000"/>
              <a:gd name="connsiteX13" fmla="*/ 7458 w 10017"/>
              <a:gd name="connsiteY13" fmla="*/ 8935 h 10000"/>
              <a:gd name="connsiteX14" fmla="*/ 7526 w 10017"/>
              <a:gd name="connsiteY14" fmla="*/ 8411 h 10000"/>
              <a:gd name="connsiteX15" fmla="*/ 7526 w 10017"/>
              <a:gd name="connsiteY15" fmla="*/ 523 h 10000"/>
              <a:gd name="connsiteX16" fmla="*/ 7594 w 10017"/>
              <a:gd name="connsiteY16" fmla="*/ 0 h 10000"/>
              <a:gd name="connsiteX17" fmla="*/ 9315 w 10017"/>
              <a:gd name="connsiteY17" fmla="*/ 0 h 10000"/>
              <a:gd name="connsiteX18" fmla="*/ 9387 w 10017"/>
              <a:gd name="connsiteY18" fmla="*/ 523 h 10000"/>
              <a:gd name="connsiteX19" fmla="*/ 9387 w 10017"/>
              <a:gd name="connsiteY19" fmla="*/ 7159 h 10000"/>
              <a:gd name="connsiteX20" fmla="*/ 9455 w 10017"/>
              <a:gd name="connsiteY20" fmla="*/ 7682 h 10000"/>
              <a:gd name="connsiteX21" fmla="*/ 10017 w 10017"/>
              <a:gd name="connsiteY21" fmla="*/ 7682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17" h="10000">
                <a:moveTo>
                  <a:pt x="0" y="5609"/>
                </a:moveTo>
                <a:lnTo>
                  <a:pt x="436" y="5607"/>
                </a:lnTo>
                <a:cubicBezTo>
                  <a:pt x="477" y="5607"/>
                  <a:pt x="514" y="5832"/>
                  <a:pt x="514" y="6131"/>
                </a:cubicBezTo>
                <a:lnTo>
                  <a:pt x="514" y="9477"/>
                </a:lnTo>
                <a:cubicBezTo>
                  <a:pt x="514" y="9757"/>
                  <a:pt x="548" y="10000"/>
                  <a:pt x="588" y="10000"/>
                </a:cubicBezTo>
                <a:lnTo>
                  <a:pt x="1201" y="10000"/>
                </a:lnTo>
                <a:cubicBezTo>
                  <a:pt x="1235" y="10000"/>
                  <a:pt x="1269" y="9757"/>
                  <a:pt x="1269" y="9477"/>
                </a:cubicBezTo>
                <a:lnTo>
                  <a:pt x="1269" y="7178"/>
                </a:lnTo>
                <a:cubicBezTo>
                  <a:pt x="1269" y="6897"/>
                  <a:pt x="1297" y="6654"/>
                  <a:pt x="1334" y="6654"/>
                </a:cubicBezTo>
                <a:lnTo>
                  <a:pt x="2092" y="6654"/>
                </a:lnTo>
                <a:cubicBezTo>
                  <a:pt x="2132" y="6654"/>
                  <a:pt x="2164" y="6897"/>
                  <a:pt x="2164" y="7178"/>
                </a:cubicBezTo>
                <a:lnTo>
                  <a:pt x="2164" y="8411"/>
                </a:lnTo>
                <a:cubicBezTo>
                  <a:pt x="2164" y="8710"/>
                  <a:pt x="2193" y="8935"/>
                  <a:pt x="2231" y="8935"/>
                </a:cubicBezTo>
                <a:lnTo>
                  <a:pt x="7458" y="8935"/>
                </a:lnTo>
                <a:cubicBezTo>
                  <a:pt x="7496" y="8935"/>
                  <a:pt x="7526" y="8710"/>
                  <a:pt x="7526" y="8411"/>
                </a:cubicBezTo>
                <a:lnTo>
                  <a:pt x="7526" y="523"/>
                </a:lnTo>
                <a:cubicBezTo>
                  <a:pt x="7526" y="224"/>
                  <a:pt x="7557" y="0"/>
                  <a:pt x="7594" y="0"/>
                </a:cubicBezTo>
                <a:lnTo>
                  <a:pt x="9315" y="0"/>
                </a:lnTo>
                <a:cubicBezTo>
                  <a:pt x="9356" y="0"/>
                  <a:pt x="9387" y="224"/>
                  <a:pt x="9387" y="523"/>
                </a:cubicBezTo>
                <a:lnTo>
                  <a:pt x="9387" y="7159"/>
                </a:lnTo>
                <a:cubicBezTo>
                  <a:pt x="9387" y="7439"/>
                  <a:pt x="9416" y="7682"/>
                  <a:pt x="9455" y="7682"/>
                </a:cubicBezTo>
                <a:lnTo>
                  <a:pt x="10017" y="7682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Freeform 9"/>
          <p:cNvSpPr>
            <a:spLocks/>
          </p:cNvSpPr>
          <p:nvPr userDrawn="1"/>
        </p:nvSpPr>
        <p:spPr bwMode="gray">
          <a:xfrm>
            <a:off x="-7917" y="4480919"/>
            <a:ext cx="9161634" cy="1894152"/>
          </a:xfrm>
          <a:custGeom>
            <a:avLst/>
            <a:gdLst>
              <a:gd name="T0" fmla="*/ 0 w 8479"/>
              <a:gd name="T1" fmla="*/ 0 h 835"/>
              <a:gd name="T2" fmla="*/ 1311 w 8479"/>
              <a:gd name="T3" fmla="*/ 0 h 835"/>
              <a:gd name="T4" fmla="*/ 1339 w 8479"/>
              <a:gd name="T5" fmla="*/ 28 h 835"/>
              <a:gd name="T6" fmla="*/ 1339 w 8479"/>
              <a:gd name="T7" fmla="*/ 629 h 835"/>
              <a:gd name="T8" fmla="*/ 1366 w 8479"/>
              <a:gd name="T9" fmla="*/ 657 h 835"/>
              <a:gd name="T10" fmla="*/ 2615 w 8479"/>
              <a:gd name="T11" fmla="*/ 657 h 835"/>
              <a:gd name="T12" fmla="*/ 2643 w 8479"/>
              <a:gd name="T13" fmla="*/ 629 h 835"/>
              <a:gd name="T14" fmla="*/ 2643 w 8479"/>
              <a:gd name="T15" fmla="*/ 150 h 835"/>
              <a:gd name="T16" fmla="*/ 2671 w 8479"/>
              <a:gd name="T17" fmla="*/ 122 h 835"/>
              <a:gd name="T18" fmla="*/ 3930 w 8479"/>
              <a:gd name="T19" fmla="*/ 122 h 835"/>
              <a:gd name="T20" fmla="*/ 3958 w 8479"/>
              <a:gd name="T21" fmla="*/ 150 h 835"/>
              <a:gd name="T22" fmla="*/ 3958 w 8479"/>
              <a:gd name="T23" fmla="*/ 807 h 835"/>
              <a:gd name="T24" fmla="*/ 3986 w 8479"/>
              <a:gd name="T25" fmla="*/ 835 h 835"/>
              <a:gd name="T26" fmla="*/ 4855 w 8479"/>
              <a:gd name="T27" fmla="*/ 835 h 835"/>
              <a:gd name="T28" fmla="*/ 4883 w 8479"/>
              <a:gd name="T29" fmla="*/ 807 h 835"/>
              <a:gd name="T30" fmla="*/ 4883 w 8479"/>
              <a:gd name="T31" fmla="*/ 28 h 835"/>
              <a:gd name="T32" fmla="*/ 4911 w 8479"/>
              <a:gd name="T33" fmla="*/ 0 h 835"/>
              <a:gd name="T34" fmla="*/ 5536 w 8479"/>
              <a:gd name="T35" fmla="*/ 0 h 835"/>
              <a:gd name="T36" fmla="*/ 5564 w 8479"/>
              <a:gd name="T37" fmla="*/ 28 h 835"/>
              <a:gd name="T38" fmla="*/ 5564 w 8479"/>
              <a:gd name="T39" fmla="*/ 716 h 835"/>
              <a:gd name="T40" fmla="*/ 5592 w 8479"/>
              <a:gd name="T41" fmla="*/ 744 h 835"/>
              <a:gd name="T42" fmla="*/ 6859 w 8479"/>
              <a:gd name="T43" fmla="*/ 744 h 835"/>
              <a:gd name="T44" fmla="*/ 6887 w 8479"/>
              <a:gd name="T45" fmla="*/ 716 h 835"/>
              <a:gd name="T46" fmla="*/ 6887 w 8479"/>
              <a:gd name="T47" fmla="*/ 148 h 835"/>
              <a:gd name="T48" fmla="*/ 6915 w 8479"/>
              <a:gd name="T49" fmla="*/ 120 h 835"/>
              <a:gd name="T50" fmla="*/ 7337 w 8479"/>
              <a:gd name="T51" fmla="*/ 120 h 835"/>
              <a:gd name="T52" fmla="*/ 7364 w 8479"/>
              <a:gd name="T53" fmla="*/ 148 h 835"/>
              <a:gd name="T54" fmla="*/ 7364 w 8479"/>
              <a:gd name="T55" fmla="*/ 269 h 835"/>
              <a:gd name="T56" fmla="*/ 7392 w 8479"/>
              <a:gd name="T57" fmla="*/ 297 h 835"/>
              <a:gd name="T58" fmla="*/ 8479 w 8479"/>
              <a:gd name="T59" fmla="*/ 297 h 835"/>
              <a:gd name="connsiteX0" fmla="*/ 0 w 8454"/>
              <a:gd name="connsiteY0" fmla="*/ 0 h 10000"/>
              <a:gd name="connsiteX1" fmla="*/ 33 w 8454"/>
              <a:gd name="connsiteY1" fmla="*/ 335 h 10000"/>
              <a:gd name="connsiteX2" fmla="*/ 33 w 8454"/>
              <a:gd name="connsiteY2" fmla="*/ 7533 h 10000"/>
              <a:gd name="connsiteX3" fmla="*/ 65 w 8454"/>
              <a:gd name="connsiteY3" fmla="*/ 7868 h 10000"/>
              <a:gd name="connsiteX4" fmla="*/ 1538 w 8454"/>
              <a:gd name="connsiteY4" fmla="*/ 7868 h 10000"/>
              <a:gd name="connsiteX5" fmla="*/ 1571 w 8454"/>
              <a:gd name="connsiteY5" fmla="*/ 7533 h 10000"/>
              <a:gd name="connsiteX6" fmla="*/ 1571 w 8454"/>
              <a:gd name="connsiteY6" fmla="*/ 1796 h 10000"/>
              <a:gd name="connsiteX7" fmla="*/ 1604 w 8454"/>
              <a:gd name="connsiteY7" fmla="*/ 1461 h 10000"/>
              <a:gd name="connsiteX8" fmla="*/ 3089 w 8454"/>
              <a:gd name="connsiteY8" fmla="*/ 1461 h 10000"/>
              <a:gd name="connsiteX9" fmla="*/ 3122 w 8454"/>
              <a:gd name="connsiteY9" fmla="*/ 1796 h 10000"/>
              <a:gd name="connsiteX10" fmla="*/ 3122 w 8454"/>
              <a:gd name="connsiteY10" fmla="*/ 9665 h 10000"/>
              <a:gd name="connsiteX11" fmla="*/ 3155 w 8454"/>
              <a:gd name="connsiteY11" fmla="*/ 10000 h 10000"/>
              <a:gd name="connsiteX12" fmla="*/ 4180 w 8454"/>
              <a:gd name="connsiteY12" fmla="*/ 10000 h 10000"/>
              <a:gd name="connsiteX13" fmla="*/ 4213 w 8454"/>
              <a:gd name="connsiteY13" fmla="*/ 9665 h 10000"/>
              <a:gd name="connsiteX14" fmla="*/ 4213 w 8454"/>
              <a:gd name="connsiteY14" fmla="*/ 335 h 10000"/>
              <a:gd name="connsiteX15" fmla="*/ 4246 w 8454"/>
              <a:gd name="connsiteY15" fmla="*/ 0 h 10000"/>
              <a:gd name="connsiteX16" fmla="*/ 4983 w 8454"/>
              <a:gd name="connsiteY16" fmla="*/ 0 h 10000"/>
              <a:gd name="connsiteX17" fmla="*/ 5016 w 8454"/>
              <a:gd name="connsiteY17" fmla="*/ 335 h 10000"/>
              <a:gd name="connsiteX18" fmla="*/ 5016 w 8454"/>
              <a:gd name="connsiteY18" fmla="*/ 8575 h 10000"/>
              <a:gd name="connsiteX19" fmla="*/ 5049 w 8454"/>
              <a:gd name="connsiteY19" fmla="*/ 8910 h 10000"/>
              <a:gd name="connsiteX20" fmla="*/ 6543 w 8454"/>
              <a:gd name="connsiteY20" fmla="*/ 8910 h 10000"/>
              <a:gd name="connsiteX21" fmla="*/ 6576 w 8454"/>
              <a:gd name="connsiteY21" fmla="*/ 8575 h 10000"/>
              <a:gd name="connsiteX22" fmla="*/ 6576 w 8454"/>
              <a:gd name="connsiteY22" fmla="*/ 1772 h 10000"/>
              <a:gd name="connsiteX23" fmla="*/ 6609 w 8454"/>
              <a:gd name="connsiteY23" fmla="*/ 1437 h 10000"/>
              <a:gd name="connsiteX24" fmla="*/ 7107 w 8454"/>
              <a:gd name="connsiteY24" fmla="*/ 1437 h 10000"/>
              <a:gd name="connsiteX25" fmla="*/ 7139 w 8454"/>
              <a:gd name="connsiteY25" fmla="*/ 1772 h 10000"/>
              <a:gd name="connsiteX26" fmla="*/ 7139 w 8454"/>
              <a:gd name="connsiteY26" fmla="*/ 3222 h 10000"/>
              <a:gd name="connsiteX27" fmla="*/ 7172 w 8454"/>
              <a:gd name="connsiteY27" fmla="*/ 3557 h 10000"/>
              <a:gd name="connsiteX28" fmla="*/ 8454 w 8454"/>
              <a:gd name="connsiteY28" fmla="*/ 3557 h 10000"/>
              <a:gd name="connsiteX0" fmla="*/ 0 w 9961"/>
              <a:gd name="connsiteY0" fmla="*/ 335 h 10000"/>
              <a:gd name="connsiteX1" fmla="*/ 0 w 9961"/>
              <a:gd name="connsiteY1" fmla="*/ 7533 h 10000"/>
              <a:gd name="connsiteX2" fmla="*/ 38 w 9961"/>
              <a:gd name="connsiteY2" fmla="*/ 7868 h 10000"/>
              <a:gd name="connsiteX3" fmla="*/ 1780 w 9961"/>
              <a:gd name="connsiteY3" fmla="*/ 7868 h 10000"/>
              <a:gd name="connsiteX4" fmla="*/ 1819 w 9961"/>
              <a:gd name="connsiteY4" fmla="*/ 7533 h 10000"/>
              <a:gd name="connsiteX5" fmla="*/ 1819 w 9961"/>
              <a:gd name="connsiteY5" fmla="*/ 1796 h 10000"/>
              <a:gd name="connsiteX6" fmla="*/ 1858 w 9961"/>
              <a:gd name="connsiteY6" fmla="*/ 1461 h 10000"/>
              <a:gd name="connsiteX7" fmla="*/ 3615 w 9961"/>
              <a:gd name="connsiteY7" fmla="*/ 1461 h 10000"/>
              <a:gd name="connsiteX8" fmla="*/ 3654 w 9961"/>
              <a:gd name="connsiteY8" fmla="*/ 1796 h 10000"/>
              <a:gd name="connsiteX9" fmla="*/ 3654 w 9961"/>
              <a:gd name="connsiteY9" fmla="*/ 9665 h 10000"/>
              <a:gd name="connsiteX10" fmla="*/ 3693 w 9961"/>
              <a:gd name="connsiteY10" fmla="*/ 10000 h 10000"/>
              <a:gd name="connsiteX11" fmla="*/ 4905 w 9961"/>
              <a:gd name="connsiteY11" fmla="*/ 10000 h 10000"/>
              <a:gd name="connsiteX12" fmla="*/ 4944 w 9961"/>
              <a:gd name="connsiteY12" fmla="*/ 9665 h 10000"/>
              <a:gd name="connsiteX13" fmla="*/ 4944 w 9961"/>
              <a:gd name="connsiteY13" fmla="*/ 335 h 10000"/>
              <a:gd name="connsiteX14" fmla="*/ 4983 w 9961"/>
              <a:gd name="connsiteY14" fmla="*/ 0 h 10000"/>
              <a:gd name="connsiteX15" fmla="*/ 5855 w 9961"/>
              <a:gd name="connsiteY15" fmla="*/ 0 h 10000"/>
              <a:gd name="connsiteX16" fmla="*/ 5894 w 9961"/>
              <a:gd name="connsiteY16" fmla="*/ 335 h 10000"/>
              <a:gd name="connsiteX17" fmla="*/ 5894 w 9961"/>
              <a:gd name="connsiteY17" fmla="*/ 8575 h 10000"/>
              <a:gd name="connsiteX18" fmla="*/ 5933 w 9961"/>
              <a:gd name="connsiteY18" fmla="*/ 8910 h 10000"/>
              <a:gd name="connsiteX19" fmla="*/ 7701 w 9961"/>
              <a:gd name="connsiteY19" fmla="*/ 8910 h 10000"/>
              <a:gd name="connsiteX20" fmla="*/ 7740 w 9961"/>
              <a:gd name="connsiteY20" fmla="*/ 8575 h 10000"/>
              <a:gd name="connsiteX21" fmla="*/ 7740 w 9961"/>
              <a:gd name="connsiteY21" fmla="*/ 1772 h 10000"/>
              <a:gd name="connsiteX22" fmla="*/ 7779 w 9961"/>
              <a:gd name="connsiteY22" fmla="*/ 1437 h 10000"/>
              <a:gd name="connsiteX23" fmla="*/ 8368 w 9961"/>
              <a:gd name="connsiteY23" fmla="*/ 1437 h 10000"/>
              <a:gd name="connsiteX24" fmla="*/ 8406 w 9961"/>
              <a:gd name="connsiteY24" fmla="*/ 1772 h 10000"/>
              <a:gd name="connsiteX25" fmla="*/ 8406 w 9961"/>
              <a:gd name="connsiteY25" fmla="*/ 3222 h 10000"/>
              <a:gd name="connsiteX26" fmla="*/ 8445 w 9961"/>
              <a:gd name="connsiteY26" fmla="*/ 3557 h 10000"/>
              <a:gd name="connsiteX27" fmla="*/ 9961 w 9961"/>
              <a:gd name="connsiteY27" fmla="*/ 3557 h 10000"/>
              <a:gd name="connsiteX0" fmla="*/ 0 w 10000"/>
              <a:gd name="connsiteY0" fmla="*/ 7533 h 10000"/>
              <a:gd name="connsiteX1" fmla="*/ 38 w 10000"/>
              <a:gd name="connsiteY1" fmla="*/ 7868 h 10000"/>
              <a:gd name="connsiteX2" fmla="*/ 1787 w 10000"/>
              <a:gd name="connsiteY2" fmla="*/ 7868 h 10000"/>
              <a:gd name="connsiteX3" fmla="*/ 1826 w 10000"/>
              <a:gd name="connsiteY3" fmla="*/ 7533 h 10000"/>
              <a:gd name="connsiteX4" fmla="*/ 1826 w 10000"/>
              <a:gd name="connsiteY4" fmla="*/ 1796 h 10000"/>
              <a:gd name="connsiteX5" fmla="*/ 1865 w 10000"/>
              <a:gd name="connsiteY5" fmla="*/ 1461 h 10000"/>
              <a:gd name="connsiteX6" fmla="*/ 3629 w 10000"/>
              <a:gd name="connsiteY6" fmla="*/ 1461 h 10000"/>
              <a:gd name="connsiteX7" fmla="*/ 3668 w 10000"/>
              <a:gd name="connsiteY7" fmla="*/ 1796 h 10000"/>
              <a:gd name="connsiteX8" fmla="*/ 3668 w 10000"/>
              <a:gd name="connsiteY8" fmla="*/ 9665 h 10000"/>
              <a:gd name="connsiteX9" fmla="*/ 3707 w 10000"/>
              <a:gd name="connsiteY9" fmla="*/ 10000 h 10000"/>
              <a:gd name="connsiteX10" fmla="*/ 4924 w 10000"/>
              <a:gd name="connsiteY10" fmla="*/ 10000 h 10000"/>
              <a:gd name="connsiteX11" fmla="*/ 4963 w 10000"/>
              <a:gd name="connsiteY11" fmla="*/ 9665 h 10000"/>
              <a:gd name="connsiteX12" fmla="*/ 4963 w 10000"/>
              <a:gd name="connsiteY12" fmla="*/ 335 h 10000"/>
              <a:gd name="connsiteX13" fmla="*/ 5003 w 10000"/>
              <a:gd name="connsiteY13" fmla="*/ 0 h 10000"/>
              <a:gd name="connsiteX14" fmla="*/ 5878 w 10000"/>
              <a:gd name="connsiteY14" fmla="*/ 0 h 10000"/>
              <a:gd name="connsiteX15" fmla="*/ 5917 w 10000"/>
              <a:gd name="connsiteY15" fmla="*/ 335 h 10000"/>
              <a:gd name="connsiteX16" fmla="*/ 5917 w 10000"/>
              <a:gd name="connsiteY16" fmla="*/ 8575 h 10000"/>
              <a:gd name="connsiteX17" fmla="*/ 5956 w 10000"/>
              <a:gd name="connsiteY17" fmla="*/ 8910 h 10000"/>
              <a:gd name="connsiteX18" fmla="*/ 7731 w 10000"/>
              <a:gd name="connsiteY18" fmla="*/ 8910 h 10000"/>
              <a:gd name="connsiteX19" fmla="*/ 7770 w 10000"/>
              <a:gd name="connsiteY19" fmla="*/ 8575 h 10000"/>
              <a:gd name="connsiteX20" fmla="*/ 7770 w 10000"/>
              <a:gd name="connsiteY20" fmla="*/ 1772 h 10000"/>
              <a:gd name="connsiteX21" fmla="*/ 7809 w 10000"/>
              <a:gd name="connsiteY21" fmla="*/ 1437 h 10000"/>
              <a:gd name="connsiteX22" fmla="*/ 8401 w 10000"/>
              <a:gd name="connsiteY22" fmla="*/ 1437 h 10000"/>
              <a:gd name="connsiteX23" fmla="*/ 8439 w 10000"/>
              <a:gd name="connsiteY23" fmla="*/ 1772 h 10000"/>
              <a:gd name="connsiteX24" fmla="*/ 8439 w 10000"/>
              <a:gd name="connsiteY24" fmla="*/ 3222 h 10000"/>
              <a:gd name="connsiteX25" fmla="*/ 8478 w 10000"/>
              <a:gd name="connsiteY25" fmla="*/ 3557 h 10000"/>
              <a:gd name="connsiteX26" fmla="*/ 10000 w 10000"/>
              <a:gd name="connsiteY26" fmla="*/ 3557 h 10000"/>
              <a:gd name="connsiteX0" fmla="*/ 0 w 9962"/>
              <a:gd name="connsiteY0" fmla="*/ 7868 h 10000"/>
              <a:gd name="connsiteX1" fmla="*/ 1749 w 9962"/>
              <a:gd name="connsiteY1" fmla="*/ 7868 h 10000"/>
              <a:gd name="connsiteX2" fmla="*/ 1788 w 9962"/>
              <a:gd name="connsiteY2" fmla="*/ 7533 h 10000"/>
              <a:gd name="connsiteX3" fmla="*/ 1788 w 9962"/>
              <a:gd name="connsiteY3" fmla="*/ 1796 h 10000"/>
              <a:gd name="connsiteX4" fmla="*/ 1827 w 9962"/>
              <a:gd name="connsiteY4" fmla="*/ 1461 h 10000"/>
              <a:gd name="connsiteX5" fmla="*/ 3591 w 9962"/>
              <a:gd name="connsiteY5" fmla="*/ 1461 h 10000"/>
              <a:gd name="connsiteX6" fmla="*/ 3630 w 9962"/>
              <a:gd name="connsiteY6" fmla="*/ 1796 h 10000"/>
              <a:gd name="connsiteX7" fmla="*/ 3630 w 9962"/>
              <a:gd name="connsiteY7" fmla="*/ 9665 h 10000"/>
              <a:gd name="connsiteX8" fmla="*/ 3669 w 9962"/>
              <a:gd name="connsiteY8" fmla="*/ 10000 h 10000"/>
              <a:gd name="connsiteX9" fmla="*/ 4886 w 9962"/>
              <a:gd name="connsiteY9" fmla="*/ 10000 h 10000"/>
              <a:gd name="connsiteX10" fmla="*/ 4925 w 9962"/>
              <a:gd name="connsiteY10" fmla="*/ 9665 h 10000"/>
              <a:gd name="connsiteX11" fmla="*/ 4925 w 9962"/>
              <a:gd name="connsiteY11" fmla="*/ 335 h 10000"/>
              <a:gd name="connsiteX12" fmla="*/ 4965 w 9962"/>
              <a:gd name="connsiteY12" fmla="*/ 0 h 10000"/>
              <a:gd name="connsiteX13" fmla="*/ 5840 w 9962"/>
              <a:gd name="connsiteY13" fmla="*/ 0 h 10000"/>
              <a:gd name="connsiteX14" fmla="*/ 5879 w 9962"/>
              <a:gd name="connsiteY14" fmla="*/ 335 h 10000"/>
              <a:gd name="connsiteX15" fmla="*/ 5879 w 9962"/>
              <a:gd name="connsiteY15" fmla="*/ 8575 h 10000"/>
              <a:gd name="connsiteX16" fmla="*/ 5918 w 9962"/>
              <a:gd name="connsiteY16" fmla="*/ 8910 h 10000"/>
              <a:gd name="connsiteX17" fmla="*/ 7693 w 9962"/>
              <a:gd name="connsiteY17" fmla="*/ 8910 h 10000"/>
              <a:gd name="connsiteX18" fmla="*/ 7732 w 9962"/>
              <a:gd name="connsiteY18" fmla="*/ 8575 h 10000"/>
              <a:gd name="connsiteX19" fmla="*/ 7732 w 9962"/>
              <a:gd name="connsiteY19" fmla="*/ 1772 h 10000"/>
              <a:gd name="connsiteX20" fmla="*/ 7771 w 9962"/>
              <a:gd name="connsiteY20" fmla="*/ 1437 h 10000"/>
              <a:gd name="connsiteX21" fmla="*/ 8363 w 9962"/>
              <a:gd name="connsiteY21" fmla="*/ 1437 h 10000"/>
              <a:gd name="connsiteX22" fmla="*/ 8401 w 9962"/>
              <a:gd name="connsiteY22" fmla="*/ 1772 h 10000"/>
              <a:gd name="connsiteX23" fmla="*/ 8401 w 9962"/>
              <a:gd name="connsiteY23" fmla="*/ 3222 h 10000"/>
              <a:gd name="connsiteX24" fmla="*/ 8440 w 9962"/>
              <a:gd name="connsiteY24" fmla="*/ 3557 h 10000"/>
              <a:gd name="connsiteX25" fmla="*/ 9962 w 9962"/>
              <a:gd name="connsiteY25" fmla="*/ 3557 h 10000"/>
              <a:gd name="connsiteX0" fmla="*/ 0 w 8472"/>
              <a:gd name="connsiteY0" fmla="*/ 7868 h 10000"/>
              <a:gd name="connsiteX1" fmla="*/ 1756 w 8472"/>
              <a:gd name="connsiteY1" fmla="*/ 7868 h 10000"/>
              <a:gd name="connsiteX2" fmla="*/ 1795 w 8472"/>
              <a:gd name="connsiteY2" fmla="*/ 7533 h 10000"/>
              <a:gd name="connsiteX3" fmla="*/ 1795 w 8472"/>
              <a:gd name="connsiteY3" fmla="*/ 1796 h 10000"/>
              <a:gd name="connsiteX4" fmla="*/ 1834 w 8472"/>
              <a:gd name="connsiteY4" fmla="*/ 1461 h 10000"/>
              <a:gd name="connsiteX5" fmla="*/ 3605 w 8472"/>
              <a:gd name="connsiteY5" fmla="*/ 1461 h 10000"/>
              <a:gd name="connsiteX6" fmla="*/ 3644 w 8472"/>
              <a:gd name="connsiteY6" fmla="*/ 1796 h 10000"/>
              <a:gd name="connsiteX7" fmla="*/ 3644 w 8472"/>
              <a:gd name="connsiteY7" fmla="*/ 9665 h 10000"/>
              <a:gd name="connsiteX8" fmla="*/ 3683 w 8472"/>
              <a:gd name="connsiteY8" fmla="*/ 10000 h 10000"/>
              <a:gd name="connsiteX9" fmla="*/ 4905 w 8472"/>
              <a:gd name="connsiteY9" fmla="*/ 10000 h 10000"/>
              <a:gd name="connsiteX10" fmla="*/ 4944 w 8472"/>
              <a:gd name="connsiteY10" fmla="*/ 9665 h 10000"/>
              <a:gd name="connsiteX11" fmla="*/ 4944 w 8472"/>
              <a:gd name="connsiteY11" fmla="*/ 335 h 10000"/>
              <a:gd name="connsiteX12" fmla="*/ 4984 w 8472"/>
              <a:gd name="connsiteY12" fmla="*/ 0 h 10000"/>
              <a:gd name="connsiteX13" fmla="*/ 5862 w 8472"/>
              <a:gd name="connsiteY13" fmla="*/ 0 h 10000"/>
              <a:gd name="connsiteX14" fmla="*/ 5901 w 8472"/>
              <a:gd name="connsiteY14" fmla="*/ 335 h 10000"/>
              <a:gd name="connsiteX15" fmla="*/ 5901 w 8472"/>
              <a:gd name="connsiteY15" fmla="*/ 8575 h 10000"/>
              <a:gd name="connsiteX16" fmla="*/ 5941 w 8472"/>
              <a:gd name="connsiteY16" fmla="*/ 8910 h 10000"/>
              <a:gd name="connsiteX17" fmla="*/ 7722 w 8472"/>
              <a:gd name="connsiteY17" fmla="*/ 8910 h 10000"/>
              <a:gd name="connsiteX18" fmla="*/ 7761 w 8472"/>
              <a:gd name="connsiteY18" fmla="*/ 8575 h 10000"/>
              <a:gd name="connsiteX19" fmla="*/ 7761 w 8472"/>
              <a:gd name="connsiteY19" fmla="*/ 1772 h 10000"/>
              <a:gd name="connsiteX20" fmla="*/ 7801 w 8472"/>
              <a:gd name="connsiteY20" fmla="*/ 1437 h 10000"/>
              <a:gd name="connsiteX21" fmla="*/ 8395 w 8472"/>
              <a:gd name="connsiteY21" fmla="*/ 1437 h 10000"/>
              <a:gd name="connsiteX22" fmla="*/ 8433 w 8472"/>
              <a:gd name="connsiteY22" fmla="*/ 1772 h 10000"/>
              <a:gd name="connsiteX23" fmla="*/ 8433 w 8472"/>
              <a:gd name="connsiteY23" fmla="*/ 3222 h 10000"/>
              <a:gd name="connsiteX24" fmla="*/ 8472 w 8472"/>
              <a:gd name="connsiteY24" fmla="*/ 3557 h 10000"/>
              <a:gd name="connsiteX0" fmla="*/ 0 w 9954"/>
              <a:gd name="connsiteY0" fmla="*/ 7868 h 10000"/>
              <a:gd name="connsiteX1" fmla="*/ 2073 w 9954"/>
              <a:gd name="connsiteY1" fmla="*/ 7868 h 10000"/>
              <a:gd name="connsiteX2" fmla="*/ 2119 w 9954"/>
              <a:gd name="connsiteY2" fmla="*/ 7533 h 10000"/>
              <a:gd name="connsiteX3" fmla="*/ 2119 w 9954"/>
              <a:gd name="connsiteY3" fmla="*/ 1796 h 10000"/>
              <a:gd name="connsiteX4" fmla="*/ 2165 w 9954"/>
              <a:gd name="connsiteY4" fmla="*/ 1461 h 10000"/>
              <a:gd name="connsiteX5" fmla="*/ 4255 w 9954"/>
              <a:gd name="connsiteY5" fmla="*/ 1461 h 10000"/>
              <a:gd name="connsiteX6" fmla="*/ 4301 w 9954"/>
              <a:gd name="connsiteY6" fmla="*/ 1796 h 10000"/>
              <a:gd name="connsiteX7" fmla="*/ 4301 w 9954"/>
              <a:gd name="connsiteY7" fmla="*/ 9665 h 10000"/>
              <a:gd name="connsiteX8" fmla="*/ 4347 w 9954"/>
              <a:gd name="connsiteY8" fmla="*/ 10000 h 10000"/>
              <a:gd name="connsiteX9" fmla="*/ 5790 w 9954"/>
              <a:gd name="connsiteY9" fmla="*/ 10000 h 10000"/>
              <a:gd name="connsiteX10" fmla="*/ 5836 w 9954"/>
              <a:gd name="connsiteY10" fmla="*/ 9665 h 10000"/>
              <a:gd name="connsiteX11" fmla="*/ 5836 w 9954"/>
              <a:gd name="connsiteY11" fmla="*/ 335 h 10000"/>
              <a:gd name="connsiteX12" fmla="*/ 5883 w 9954"/>
              <a:gd name="connsiteY12" fmla="*/ 0 h 10000"/>
              <a:gd name="connsiteX13" fmla="*/ 6919 w 9954"/>
              <a:gd name="connsiteY13" fmla="*/ 0 h 10000"/>
              <a:gd name="connsiteX14" fmla="*/ 6965 w 9954"/>
              <a:gd name="connsiteY14" fmla="*/ 335 h 10000"/>
              <a:gd name="connsiteX15" fmla="*/ 6965 w 9954"/>
              <a:gd name="connsiteY15" fmla="*/ 8575 h 10000"/>
              <a:gd name="connsiteX16" fmla="*/ 7013 w 9954"/>
              <a:gd name="connsiteY16" fmla="*/ 8910 h 10000"/>
              <a:gd name="connsiteX17" fmla="*/ 9115 w 9954"/>
              <a:gd name="connsiteY17" fmla="*/ 8910 h 10000"/>
              <a:gd name="connsiteX18" fmla="*/ 9161 w 9954"/>
              <a:gd name="connsiteY18" fmla="*/ 8575 h 10000"/>
              <a:gd name="connsiteX19" fmla="*/ 9161 w 9954"/>
              <a:gd name="connsiteY19" fmla="*/ 1772 h 10000"/>
              <a:gd name="connsiteX20" fmla="*/ 9208 w 9954"/>
              <a:gd name="connsiteY20" fmla="*/ 1437 h 10000"/>
              <a:gd name="connsiteX21" fmla="*/ 9909 w 9954"/>
              <a:gd name="connsiteY21" fmla="*/ 1437 h 10000"/>
              <a:gd name="connsiteX22" fmla="*/ 9954 w 9954"/>
              <a:gd name="connsiteY22" fmla="*/ 1772 h 10000"/>
              <a:gd name="connsiteX23" fmla="*/ 9954 w 9954"/>
              <a:gd name="connsiteY23" fmla="*/ 3222 h 10000"/>
              <a:gd name="connsiteX0" fmla="*/ 0 w 10000"/>
              <a:gd name="connsiteY0" fmla="*/ 7868 h 10000"/>
              <a:gd name="connsiteX1" fmla="*/ 2083 w 10000"/>
              <a:gd name="connsiteY1" fmla="*/ 7868 h 10000"/>
              <a:gd name="connsiteX2" fmla="*/ 2129 w 10000"/>
              <a:gd name="connsiteY2" fmla="*/ 7533 h 10000"/>
              <a:gd name="connsiteX3" fmla="*/ 2129 w 10000"/>
              <a:gd name="connsiteY3" fmla="*/ 1796 h 10000"/>
              <a:gd name="connsiteX4" fmla="*/ 2175 w 10000"/>
              <a:gd name="connsiteY4" fmla="*/ 1461 h 10000"/>
              <a:gd name="connsiteX5" fmla="*/ 4275 w 10000"/>
              <a:gd name="connsiteY5" fmla="*/ 1461 h 10000"/>
              <a:gd name="connsiteX6" fmla="*/ 4321 w 10000"/>
              <a:gd name="connsiteY6" fmla="*/ 1796 h 10000"/>
              <a:gd name="connsiteX7" fmla="*/ 4321 w 10000"/>
              <a:gd name="connsiteY7" fmla="*/ 9665 h 10000"/>
              <a:gd name="connsiteX8" fmla="*/ 4367 w 10000"/>
              <a:gd name="connsiteY8" fmla="*/ 10000 h 10000"/>
              <a:gd name="connsiteX9" fmla="*/ 5817 w 10000"/>
              <a:gd name="connsiteY9" fmla="*/ 10000 h 10000"/>
              <a:gd name="connsiteX10" fmla="*/ 5863 w 10000"/>
              <a:gd name="connsiteY10" fmla="*/ 9665 h 10000"/>
              <a:gd name="connsiteX11" fmla="*/ 5863 w 10000"/>
              <a:gd name="connsiteY11" fmla="*/ 335 h 10000"/>
              <a:gd name="connsiteX12" fmla="*/ 5910 w 10000"/>
              <a:gd name="connsiteY12" fmla="*/ 0 h 10000"/>
              <a:gd name="connsiteX13" fmla="*/ 6951 w 10000"/>
              <a:gd name="connsiteY13" fmla="*/ 0 h 10000"/>
              <a:gd name="connsiteX14" fmla="*/ 6997 w 10000"/>
              <a:gd name="connsiteY14" fmla="*/ 335 h 10000"/>
              <a:gd name="connsiteX15" fmla="*/ 6997 w 10000"/>
              <a:gd name="connsiteY15" fmla="*/ 8575 h 10000"/>
              <a:gd name="connsiteX16" fmla="*/ 7045 w 10000"/>
              <a:gd name="connsiteY16" fmla="*/ 8910 h 10000"/>
              <a:gd name="connsiteX17" fmla="*/ 9157 w 10000"/>
              <a:gd name="connsiteY17" fmla="*/ 8910 h 10000"/>
              <a:gd name="connsiteX18" fmla="*/ 9203 w 10000"/>
              <a:gd name="connsiteY18" fmla="*/ 8575 h 10000"/>
              <a:gd name="connsiteX19" fmla="*/ 9203 w 10000"/>
              <a:gd name="connsiteY19" fmla="*/ 1772 h 10000"/>
              <a:gd name="connsiteX20" fmla="*/ 9251 w 10000"/>
              <a:gd name="connsiteY20" fmla="*/ 1437 h 10000"/>
              <a:gd name="connsiteX21" fmla="*/ 9955 w 10000"/>
              <a:gd name="connsiteY21" fmla="*/ 1437 h 10000"/>
              <a:gd name="connsiteX22" fmla="*/ 10000 w 10000"/>
              <a:gd name="connsiteY22" fmla="*/ 1772 h 10000"/>
              <a:gd name="connsiteX0" fmla="*/ 0 w 9955"/>
              <a:gd name="connsiteY0" fmla="*/ 7868 h 10000"/>
              <a:gd name="connsiteX1" fmla="*/ 2083 w 9955"/>
              <a:gd name="connsiteY1" fmla="*/ 7868 h 10000"/>
              <a:gd name="connsiteX2" fmla="*/ 2129 w 9955"/>
              <a:gd name="connsiteY2" fmla="*/ 7533 h 10000"/>
              <a:gd name="connsiteX3" fmla="*/ 2129 w 9955"/>
              <a:gd name="connsiteY3" fmla="*/ 1796 h 10000"/>
              <a:gd name="connsiteX4" fmla="*/ 2175 w 9955"/>
              <a:gd name="connsiteY4" fmla="*/ 1461 h 10000"/>
              <a:gd name="connsiteX5" fmla="*/ 4275 w 9955"/>
              <a:gd name="connsiteY5" fmla="*/ 1461 h 10000"/>
              <a:gd name="connsiteX6" fmla="*/ 4321 w 9955"/>
              <a:gd name="connsiteY6" fmla="*/ 1796 h 10000"/>
              <a:gd name="connsiteX7" fmla="*/ 4321 w 9955"/>
              <a:gd name="connsiteY7" fmla="*/ 9665 h 10000"/>
              <a:gd name="connsiteX8" fmla="*/ 4367 w 9955"/>
              <a:gd name="connsiteY8" fmla="*/ 10000 h 10000"/>
              <a:gd name="connsiteX9" fmla="*/ 5817 w 9955"/>
              <a:gd name="connsiteY9" fmla="*/ 10000 h 10000"/>
              <a:gd name="connsiteX10" fmla="*/ 5863 w 9955"/>
              <a:gd name="connsiteY10" fmla="*/ 9665 h 10000"/>
              <a:gd name="connsiteX11" fmla="*/ 5863 w 9955"/>
              <a:gd name="connsiteY11" fmla="*/ 335 h 10000"/>
              <a:gd name="connsiteX12" fmla="*/ 5910 w 9955"/>
              <a:gd name="connsiteY12" fmla="*/ 0 h 10000"/>
              <a:gd name="connsiteX13" fmla="*/ 6951 w 9955"/>
              <a:gd name="connsiteY13" fmla="*/ 0 h 10000"/>
              <a:gd name="connsiteX14" fmla="*/ 6997 w 9955"/>
              <a:gd name="connsiteY14" fmla="*/ 335 h 10000"/>
              <a:gd name="connsiteX15" fmla="*/ 6997 w 9955"/>
              <a:gd name="connsiteY15" fmla="*/ 8575 h 10000"/>
              <a:gd name="connsiteX16" fmla="*/ 7045 w 9955"/>
              <a:gd name="connsiteY16" fmla="*/ 8910 h 10000"/>
              <a:gd name="connsiteX17" fmla="*/ 9157 w 9955"/>
              <a:gd name="connsiteY17" fmla="*/ 8910 h 10000"/>
              <a:gd name="connsiteX18" fmla="*/ 9203 w 9955"/>
              <a:gd name="connsiteY18" fmla="*/ 8575 h 10000"/>
              <a:gd name="connsiteX19" fmla="*/ 9203 w 9955"/>
              <a:gd name="connsiteY19" fmla="*/ 1772 h 10000"/>
              <a:gd name="connsiteX20" fmla="*/ 9251 w 9955"/>
              <a:gd name="connsiteY20" fmla="*/ 1437 h 10000"/>
              <a:gd name="connsiteX21" fmla="*/ 9955 w 9955"/>
              <a:gd name="connsiteY21" fmla="*/ 1437 h 10000"/>
              <a:gd name="connsiteX0" fmla="*/ 0 w 9293"/>
              <a:gd name="connsiteY0" fmla="*/ 7868 h 10000"/>
              <a:gd name="connsiteX1" fmla="*/ 2092 w 9293"/>
              <a:gd name="connsiteY1" fmla="*/ 7868 h 10000"/>
              <a:gd name="connsiteX2" fmla="*/ 2139 w 9293"/>
              <a:gd name="connsiteY2" fmla="*/ 7533 h 10000"/>
              <a:gd name="connsiteX3" fmla="*/ 2139 w 9293"/>
              <a:gd name="connsiteY3" fmla="*/ 1796 h 10000"/>
              <a:gd name="connsiteX4" fmla="*/ 2185 w 9293"/>
              <a:gd name="connsiteY4" fmla="*/ 1461 h 10000"/>
              <a:gd name="connsiteX5" fmla="*/ 4294 w 9293"/>
              <a:gd name="connsiteY5" fmla="*/ 1461 h 10000"/>
              <a:gd name="connsiteX6" fmla="*/ 4341 w 9293"/>
              <a:gd name="connsiteY6" fmla="*/ 1796 h 10000"/>
              <a:gd name="connsiteX7" fmla="*/ 4341 w 9293"/>
              <a:gd name="connsiteY7" fmla="*/ 9665 h 10000"/>
              <a:gd name="connsiteX8" fmla="*/ 4387 w 9293"/>
              <a:gd name="connsiteY8" fmla="*/ 10000 h 10000"/>
              <a:gd name="connsiteX9" fmla="*/ 5843 w 9293"/>
              <a:gd name="connsiteY9" fmla="*/ 10000 h 10000"/>
              <a:gd name="connsiteX10" fmla="*/ 5890 w 9293"/>
              <a:gd name="connsiteY10" fmla="*/ 9665 h 10000"/>
              <a:gd name="connsiteX11" fmla="*/ 5890 w 9293"/>
              <a:gd name="connsiteY11" fmla="*/ 335 h 10000"/>
              <a:gd name="connsiteX12" fmla="*/ 5937 w 9293"/>
              <a:gd name="connsiteY12" fmla="*/ 0 h 10000"/>
              <a:gd name="connsiteX13" fmla="*/ 6982 w 9293"/>
              <a:gd name="connsiteY13" fmla="*/ 0 h 10000"/>
              <a:gd name="connsiteX14" fmla="*/ 7029 w 9293"/>
              <a:gd name="connsiteY14" fmla="*/ 335 h 10000"/>
              <a:gd name="connsiteX15" fmla="*/ 7029 w 9293"/>
              <a:gd name="connsiteY15" fmla="*/ 8575 h 10000"/>
              <a:gd name="connsiteX16" fmla="*/ 7077 w 9293"/>
              <a:gd name="connsiteY16" fmla="*/ 8910 h 10000"/>
              <a:gd name="connsiteX17" fmla="*/ 9198 w 9293"/>
              <a:gd name="connsiteY17" fmla="*/ 8910 h 10000"/>
              <a:gd name="connsiteX18" fmla="*/ 9245 w 9293"/>
              <a:gd name="connsiteY18" fmla="*/ 8575 h 10000"/>
              <a:gd name="connsiteX19" fmla="*/ 9245 w 9293"/>
              <a:gd name="connsiteY19" fmla="*/ 1772 h 10000"/>
              <a:gd name="connsiteX20" fmla="*/ 9293 w 9293"/>
              <a:gd name="connsiteY20" fmla="*/ 1437 h 10000"/>
              <a:gd name="connsiteX0" fmla="*/ 0 w 9948"/>
              <a:gd name="connsiteY0" fmla="*/ 7868 h 10000"/>
              <a:gd name="connsiteX1" fmla="*/ 2251 w 9948"/>
              <a:gd name="connsiteY1" fmla="*/ 7868 h 10000"/>
              <a:gd name="connsiteX2" fmla="*/ 2302 w 9948"/>
              <a:gd name="connsiteY2" fmla="*/ 7533 h 10000"/>
              <a:gd name="connsiteX3" fmla="*/ 2302 w 9948"/>
              <a:gd name="connsiteY3" fmla="*/ 1796 h 10000"/>
              <a:gd name="connsiteX4" fmla="*/ 2351 w 9948"/>
              <a:gd name="connsiteY4" fmla="*/ 1461 h 10000"/>
              <a:gd name="connsiteX5" fmla="*/ 4621 w 9948"/>
              <a:gd name="connsiteY5" fmla="*/ 1461 h 10000"/>
              <a:gd name="connsiteX6" fmla="*/ 4671 w 9948"/>
              <a:gd name="connsiteY6" fmla="*/ 1796 h 10000"/>
              <a:gd name="connsiteX7" fmla="*/ 4671 w 9948"/>
              <a:gd name="connsiteY7" fmla="*/ 9665 h 10000"/>
              <a:gd name="connsiteX8" fmla="*/ 4721 w 9948"/>
              <a:gd name="connsiteY8" fmla="*/ 10000 h 10000"/>
              <a:gd name="connsiteX9" fmla="*/ 6288 w 9948"/>
              <a:gd name="connsiteY9" fmla="*/ 10000 h 10000"/>
              <a:gd name="connsiteX10" fmla="*/ 6338 w 9948"/>
              <a:gd name="connsiteY10" fmla="*/ 9665 h 10000"/>
              <a:gd name="connsiteX11" fmla="*/ 6338 w 9948"/>
              <a:gd name="connsiteY11" fmla="*/ 335 h 10000"/>
              <a:gd name="connsiteX12" fmla="*/ 6389 w 9948"/>
              <a:gd name="connsiteY12" fmla="*/ 0 h 10000"/>
              <a:gd name="connsiteX13" fmla="*/ 7513 w 9948"/>
              <a:gd name="connsiteY13" fmla="*/ 0 h 10000"/>
              <a:gd name="connsiteX14" fmla="*/ 7564 w 9948"/>
              <a:gd name="connsiteY14" fmla="*/ 335 h 10000"/>
              <a:gd name="connsiteX15" fmla="*/ 7564 w 9948"/>
              <a:gd name="connsiteY15" fmla="*/ 8575 h 10000"/>
              <a:gd name="connsiteX16" fmla="*/ 7615 w 9948"/>
              <a:gd name="connsiteY16" fmla="*/ 8910 h 10000"/>
              <a:gd name="connsiteX17" fmla="*/ 9898 w 9948"/>
              <a:gd name="connsiteY17" fmla="*/ 8910 h 10000"/>
              <a:gd name="connsiteX18" fmla="*/ 9948 w 9948"/>
              <a:gd name="connsiteY18" fmla="*/ 8575 h 10000"/>
              <a:gd name="connsiteX19" fmla="*/ 9948 w 9948"/>
              <a:gd name="connsiteY19" fmla="*/ 1772 h 10000"/>
              <a:gd name="connsiteX0" fmla="*/ 0 w 10000"/>
              <a:gd name="connsiteY0" fmla="*/ 7868 h 10000"/>
              <a:gd name="connsiteX1" fmla="*/ 2263 w 10000"/>
              <a:gd name="connsiteY1" fmla="*/ 7868 h 10000"/>
              <a:gd name="connsiteX2" fmla="*/ 2314 w 10000"/>
              <a:gd name="connsiteY2" fmla="*/ 7533 h 10000"/>
              <a:gd name="connsiteX3" fmla="*/ 2314 w 10000"/>
              <a:gd name="connsiteY3" fmla="*/ 1796 h 10000"/>
              <a:gd name="connsiteX4" fmla="*/ 2363 w 10000"/>
              <a:gd name="connsiteY4" fmla="*/ 1461 h 10000"/>
              <a:gd name="connsiteX5" fmla="*/ 4645 w 10000"/>
              <a:gd name="connsiteY5" fmla="*/ 1461 h 10000"/>
              <a:gd name="connsiteX6" fmla="*/ 4695 w 10000"/>
              <a:gd name="connsiteY6" fmla="*/ 1796 h 10000"/>
              <a:gd name="connsiteX7" fmla="*/ 4695 w 10000"/>
              <a:gd name="connsiteY7" fmla="*/ 9665 h 10000"/>
              <a:gd name="connsiteX8" fmla="*/ 4746 w 10000"/>
              <a:gd name="connsiteY8" fmla="*/ 10000 h 10000"/>
              <a:gd name="connsiteX9" fmla="*/ 6321 w 10000"/>
              <a:gd name="connsiteY9" fmla="*/ 10000 h 10000"/>
              <a:gd name="connsiteX10" fmla="*/ 6371 w 10000"/>
              <a:gd name="connsiteY10" fmla="*/ 9665 h 10000"/>
              <a:gd name="connsiteX11" fmla="*/ 6371 w 10000"/>
              <a:gd name="connsiteY11" fmla="*/ 335 h 10000"/>
              <a:gd name="connsiteX12" fmla="*/ 6422 w 10000"/>
              <a:gd name="connsiteY12" fmla="*/ 0 h 10000"/>
              <a:gd name="connsiteX13" fmla="*/ 7552 w 10000"/>
              <a:gd name="connsiteY13" fmla="*/ 0 h 10000"/>
              <a:gd name="connsiteX14" fmla="*/ 7604 w 10000"/>
              <a:gd name="connsiteY14" fmla="*/ 335 h 10000"/>
              <a:gd name="connsiteX15" fmla="*/ 7604 w 10000"/>
              <a:gd name="connsiteY15" fmla="*/ 8575 h 10000"/>
              <a:gd name="connsiteX16" fmla="*/ 7655 w 10000"/>
              <a:gd name="connsiteY16" fmla="*/ 8910 h 10000"/>
              <a:gd name="connsiteX17" fmla="*/ 9950 w 10000"/>
              <a:gd name="connsiteY17" fmla="*/ 8910 h 10000"/>
              <a:gd name="connsiteX18" fmla="*/ 10000 w 10000"/>
              <a:gd name="connsiteY18" fmla="*/ 8575 h 10000"/>
              <a:gd name="connsiteX0" fmla="*/ 0 w 8266"/>
              <a:gd name="connsiteY0" fmla="*/ 7916 h 10000"/>
              <a:gd name="connsiteX1" fmla="*/ 529 w 8266"/>
              <a:gd name="connsiteY1" fmla="*/ 7868 h 10000"/>
              <a:gd name="connsiteX2" fmla="*/ 580 w 8266"/>
              <a:gd name="connsiteY2" fmla="*/ 7533 h 10000"/>
              <a:gd name="connsiteX3" fmla="*/ 580 w 8266"/>
              <a:gd name="connsiteY3" fmla="*/ 1796 h 10000"/>
              <a:gd name="connsiteX4" fmla="*/ 629 w 8266"/>
              <a:gd name="connsiteY4" fmla="*/ 1461 h 10000"/>
              <a:gd name="connsiteX5" fmla="*/ 2911 w 8266"/>
              <a:gd name="connsiteY5" fmla="*/ 1461 h 10000"/>
              <a:gd name="connsiteX6" fmla="*/ 2961 w 8266"/>
              <a:gd name="connsiteY6" fmla="*/ 1796 h 10000"/>
              <a:gd name="connsiteX7" fmla="*/ 2961 w 8266"/>
              <a:gd name="connsiteY7" fmla="*/ 9665 h 10000"/>
              <a:gd name="connsiteX8" fmla="*/ 3012 w 8266"/>
              <a:gd name="connsiteY8" fmla="*/ 10000 h 10000"/>
              <a:gd name="connsiteX9" fmla="*/ 4587 w 8266"/>
              <a:gd name="connsiteY9" fmla="*/ 10000 h 10000"/>
              <a:gd name="connsiteX10" fmla="*/ 4637 w 8266"/>
              <a:gd name="connsiteY10" fmla="*/ 9665 h 10000"/>
              <a:gd name="connsiteX11" fmla="*/ 4637 w 8266"/>
              <a:gd name="connsiteY11" fmla="*/ 335 h 10000"/>
              <a:gd name="connsiteX12" fmla="*/ 4688 w 8266"/>
              <a:gd name="connsiteY12" fmla="*/ 0 h 10000"/>
              <a:gd name="connsiteX13" fmla="*/ 5818 w 8266"/>
              <a:gd name="connsiteY13" fmla="*/ 0 h 10000"/>
              <a:gd name="connsiteX14" fmla="*/ 5870 w 8266"/>
              <a:gd name="connsiteY14" fmla="*/ 335 h 10000"/>
              <a:gd name="connsiteX15" fmla="*/ 5870 w 8266"/>
              <a:gd name="connsiteY15" fmla="*/ 8575 h 10000"/>
              <a:gd name="connsiteX16" fmla="*/ 5921 w 8266"/>
              <a:gd name="connsiteY16" fmla="*/ 8910 h 10000"/>
              <a:gd name="connsiteX17" fmla="*/ 8216 w 8266"/>
              <a:gd name="connsiteY17" fmla="*/ 8910 h 10000"/>
              <a:gd name="connsiteX18" fmla="*/ 8266 w 8266"/>
              <a:gd name="connsiteY18" fmla="*/ 8575 h 10000"/>
              <a:gd name="connsiteX0" fmla="*/ 0 w 10000"/>
              <a:gd name="connsiteY0" fmla="*/ 7916 h 10000"/>
              <a:gd name="connsiteX1" fmla="*/ 640 w 10000"/>
              <a:gd name="connsiteY1" fmla="*/ 7868 h 10000"/>
              <a:gd name="connsiteX2" fmla="*/ 702 w 10000"/>
              <a:gd name="connsiteY2" fmla="*/ 7533 h 10000"/>
              <a:gd name="connsiteX3" fmla="*/ 702 w 10000"/>
              <a:gd name="connsiteY3" fmla="*/ 1796 h 10000"/>
              <a:gd name="connsiteX4" fmla="*/ 761 w 10000"/>
              <a:gd name="connsiteY4" fmla="*/ 1461 h 10000"/>
              <a:gd name="connsiteX5" fmla="*/ 3522 w 10000"/>
              <a:gd name="connsiteY5" fmla="*/ 1461 h 10000"/>
              <a:gd name="connsiteX6" fmla="*/ 3582 w 10000"/>
              <a:gd name="connsiteY6" fmla="*/ 1796 h 10000"/>
              <a:gd name="connsiteX7" fmla="*/ 3582 w 10000"/>
              <a:gd name="connsiteY7" fmla="*/ 9665 h 10000"/>
              <a:gd name="connsiteX8" fmla="*/ 3644 w 10000"/>
              <a:gd name="connsiteY8" fmla="*/ 10000 h 10000"/>
              <a:gd name="connsiteX9" fmla="*/ 5549 w 10000"/>
              <a:gd name="connsiteY9" fmla="*/ 10000 h 10000"/>
              <a:gd name="connsiteX10" fmla="*/ 5610 w 10000"/>
              <a:gd name="connsiteY10" fmla="*/ 9665 h 10000"/>
              <a:gd name="connsiteX11" fmla="*/ 5610 w 10000"/>
              <a:gd name="connsiteY11" fmla="*/ 335 h 10000"/>
              <a:gd name="connsiteX12" fmla="*/ 5671 w 10000"/>
              <a:gd name="connsiteY12" fmla="*/ 0 h 10000"/>
              <a:gd name="connsiteX13" fmla="*/ 7038 w 10000"/>
              <a:gd name="connsiteY13" fmla="*/ 0 h 10000"/>
              <a:gd name="connsiteX14" fmla="*/ 7101 w 10000"/>
              <a:gd name="connsiteY14" fmla="*/ 335 h 10000"/>
              <a:gd name="connsiteX15" fmla="*/ 7101 w 10000"/>
              <a:gd name="connsiteY15" fmla="*/ 8575 h 10000"/>
              <a:gd name="connsiteX16" fmla="*/ 7163 w 10000"/>
              <a:gd name="connsiteY16" fmla="*/ 8910 h 10000"/>
              <a:gd name="connsiteX17" fmla="*/ 9940 w 10000"/>
              <a:gd name="connsiteY17" fmla="*/ 8910 h 10000"/>
              <a:gd name="connsiteX18" fmla="*/ 10000 w 10000"/>
              <a:gd name="connsiteY18" fmla="*/ 8575 h 10000"/>
              <a:gd name="connsiteX0" fmla="*/ 0 w 9964"/>
              <a:gd name="connsiteY0" fmla="*/ 7882 h 10000"/>
              <a:gd name="connsiteX1" fmla="*/ 604 w 9964"/>
              <a:gd name="connsiteY1" fmla="*/ 7868 h 10000"/>
              <a:gd name="connsiteX2" fmla="*/ 666 w 9964"/>
              <a:gd name="connsiteY2" fmla="*/ 7533 h 10000"/>
              <a:gd name="connsiteX3" fmla="*/ 666 w 9964"/>
              <a:gd name="connsiteY3" fmla="*/ 1796 h 10000"/>
              <a:gd name="connsiteX4" fmla="*/ 725 w 9964"/>
              <a:gd name="connsiteY4" fmla="*/ 1461 h 10000"/>
              <a:gd name="connsiteX5" fmla="*/ 3486 w 9964"/>
              <a:gd name="connsiteY5" fmla="*/ 1461 h 10000"/>
              <a:gd name="connsiteX6" fmla="*/ 3546 w 9964"/>
              <a:gd name="connsiteY6" fmla="*/ 1796 h 10000"/>
              <a:gd name="connsiteX7" fmla="*/ 3546 w 9964"/>
              <a:gd name="connsiteY7" fmla="*/ 9665 h 10000"/>
              <a:gd name="connsiteX8" fmla="*/ 3608 w 9964"/>
              <a:gd name="connsiteY8" fmla="*/ 10000 h 10000"/>
              <a:gd name="connsiteX9" fmla="*/ 5513 w 9964"/>
              <a:gd name="connsiteY9" fmla="*/ 10000 h 10000"/>
              <a:gd name="connsiteX10" fmla="*/ 5574 w 9964"/>
              <a:gd name="connsiteY10" fmla="*/ 9665 h 10000"/>
              <a:gd name="connsiteX11" fmla="*/ 5574 w 9964"/>
              <a:gd name="connsiteY11" fmla="*/ 335 h 10000"/>
              <a:gd name="connsiteX12" fmla="*/ 5635 w 9964"/>
              <a:gd name="connsiteY12" fmla="*/ 0 h 10000"/>
              <a:gd name="connsiteX13" fmla="*/ 7002 w 9964"/>
              <a:gd name="connsiteY13" fmla="*/ 0 h 10000"/>
              <a:gd name="connsiteX14" fmla="*/ 7065 w 9964"/>
              <a:gd name="connsiteY14" fmla="*/ 335 h 10000"/>
              <a:gd name="connsiteX15" fmla="*/ 7065 w 9964"/>
              <a:gd name="connsiteY15" fmla="*/ 8575 h 10000"/>
              <a:gd name="connsiteX16" fmla="*/ 7127 w 9964"/>
              <a:gd name="connsiteY16" fmla="*/ 8910 h 10000"/>
              <a:gd name="connsiteX17" fmla="*/ 9904 w 9964"/>
              <a:gd name="connsiteY17" fmla="*/ 8910 h 10000"/>
              <a:gd name="connsiteX18" fmla="*/ 9964 w 9964"/>
              <a:gd name="connsiteY18" fmla="*/ 8575 h 10000"/>
              <a:gd name="connsiteX0" fmla="*/ 0 w 10018"/>
              <a:gd name="connsiteY0" fmla="*/ 7882 h 10000"/>
              <a:gd name="connsiteX1" fmla="*/ 624 w 10018"/>
              <a:gd name="connsiteY1" fmla="*/ 7868 h 10000"/>
              <a:gd name="connsiteX2" fmla="*/ 686 w 10018"/>
              <a:gd name="connsiteY2" fmla="*/ 7533 h 10000"/>
              <a:gd name="connsiteX3" fmla="*/ 686 w 10018"/>
              <a:gd name="connsiteY3" fmla="*/ 1796 h 10000"/>
              <a:gd name="connsiteX4" fmla="*/ 746 w 10018"/>
              <a:gd name="connsiteY4" fmla="*/ 1461 h 10000"/>
              <a:gd name="connsiteX5" fmla="*/ 3517 w 10018"/>
              <a:gd name="connsiteY5" fmla="*/ 1461 h 10000"/>
              <a:gd name="connsiteX6" fmla="*/ 3577 w 10018"/>
              <a:gd name="connsiteY6" fmla="*/ 1796 h 10000"/>
              <a:gd name="connsiteX7" fmla="*/ 3577 w 10018"/>
              <a:gd name="connsiteY7" fmla="*/ 9665 h 10000"/>
              <a:gd name="connsiteX8" fmla="*/ 3639 w 10018"/>
              <a:gd name="connsiteY8" fmla="*/ 10000 h 10000"/>
              <a:gd name="connsiteX9" fmla="*/ 5551 w 10018"/>
              <a:gd name="connsiteY9" fmla="*/ 10000 h 10000"/>
              <a:gd name="connsiteX10" fmla="*/ 5612 w 10018"/>
              <a:gd name="connsiteY10" fmla="*/ 9665 h 10000"/>
              <a:gd name="connsiteX11" fmla="*/ 5612 w 10018"/>
              <a:gd name="connsiteY11" fmla="*/ 335 h 10000"/>
              <a:gd name="connsiteX12" fmla="*/ 5673 w 10018"/>
              <a:gd name="connsiteY12" fmla="*/ 0 h 10000"/>
              <a:gd name="connsiteX13" fmla="*/ 7045 w 10018"/>
              <a:gd name="connsiteY13" fmla="*/ 0 h 10000"/>
              <a:gd name="connsiteX14" fmla="*/ 7109 w 10018"/>
              <a:gd name="connsiteY14" fmla="*/ 335 h 10000"/>
              <a:gd name="connsiteX15" fmla="*/ 7109 w 10018"/>
              <a:gd name="connsiteY15" fmla="*/ 8575 h 10000"/>
              <a:gd name="connsiteX16" fmla="*/ 7171 w 10018"/>
              <a:gd name="connsiteY16" fmla="*/ 8910 h 10000"/>
              <a:gd name="connsiteX17" fmla="*/ 9958 w 10018"/>
              <a:gd name="connsiteY17" fmla="*/ 8910 h 10000"/>
              <a:gd name="connsiteX18" fmla="*/ 10018 w 10018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9963 w 10023"/>
              <a:gd name="connsiteY17" fmla="*/ 8910 h 10000"/>
              <a:gd name="connsiteX18" fmla="*/ 10023 w 10023"/>
              <a:gd name="connsiteY18" fmla="*/ 8575 h 10000"/>
              <a:gd name="connsiteX0" fmla="*/ 0 w 10023"/>
              <a:gd name="connsiteY0" fmla="*/ 7857 h 10000"/>
              <a:gd name="connsiteX1" fmla="*/ 629 w 10023"/>
              <a:gd name="connsiteY1" fmla="*/ 7868 h 10000"/>
              <a:gd name="connsiteX2" fmla="*/ 691 w 10023"/>
              <a:gd name="connsiteY2" fmla="*/ 7533 h 10000"/>
              <a:gd name="connsiteX3" fmla="*/ 691 w 10023"/>
              <a:gd name="connsiteY3" fmla="*/ 1796 h 10000"/>
              <a:gd name="connsiteX4" fmla="*/ 751 w 10023"/>
              <a:gd name="connsiteY4" fmla="*/ 1461 h 10000"/>
              <a:gd name="connsiteX5" fmla="*/ 3522 w 10023"/>
              <a:gd name="connsiteY5" fmla="*/ 1461 h 10000"/>
              <a:gd name="connsiteX6" fmla="*/ 3582 w 10023"/>
              <a:gd name="connsiteY6" fmla="*/ 1796 h 10000"/>
              <a:gd name="connsiteX7" fmla="*/ 3582 w 10023"/>
              <a:gd name="connsiteY7" fmla="*/ 9665 h 10000"/>
              <a:gd name="connsiteX8" fmla="*/ 3644 w 10023"/>
              <a:gd name="connsiteY8" fmla="*/ 10000 h 10000"/>
              <a:gd name="connsiteX9" fmla="*/ 5556 w 10023"/>
              <a:gd name="connsiteY9" fmla="*/ 10000 h 10000"/>
              <a:gd name="connsiteX10" fmla="*/ 5617 w 10023"/>
              <a:gd name="connsiteY10" fmla="*/ 9665 h 10000"/>
              <a:gd name="connsiteX11" fmla="*/ 5617 w 10023"/>
              <a:gd name="connsiteY11" fmla="*/ 335 h 10000"/>
              <a:gd name="connsiteX12" fmla="*/ 5678 w 10023"/>
              <a:gd name="connsiteY12" fmla="*/ 0 h 10000"/>
              <a:gd name="connsiteX13" fmla="*/ 7050 w 10023"/>
              <a:gd name="connsiteY13" fmla="*/ 0 h 10000"/>
              <a:gd name="connsiteX14" fmla="*/ 7114 w 10023"/>
              <a:gd name="connsiteY14" fmla="*/ 335 h 10000"/>
              <a:gd name="connsiteX15" fmla="*/ 7114 w 10023"/>
              <a:gd name="connsiteY15" fmla="*/ 8575 h 10000"/>
              <a:gd name="connsiteX16" fmla="*/ 7176 w 10023"/>
              <a:gd name="connsiteY16" fmla="*/ 8910 h 10000"/>
              <a:gd name="connsiteX17" fmla="*/ 10023 w 10023"/>
              <a:gd name="connsiteY17" fmla="*/ 8575 h 10000"/>
              <a:gd name="connsiteX0" fmla="*/ 0 w 8783"/>
              <a:gd name="connsiteY0" fmla="*/ 7857 h 10000"/>
              <a:gd name="connsiteX1" fmla="*/ 629 w 8783"/>
              <a:gd name="connsiteY1" fmla="*/ 7868 h 10000"/>
              <a:gd name="connsiteX2" fmla="*/ 691 w 8783"/>
              <a:gd name="connsiteY2" fmla="*/ 7533 h 10000"/>
              <a:gd name="connsiteX3" fmla="*/ 691 w 8783"/>
              <a:gd name="connsiteY3" fmla="*/ 1796 h 10000"/>
              <a:gd name="connsiteX4" fmla="*/ 751 w 8783"/>
              <a:gd name="connsiteY4" fmla="*/ 1461 h 10000"/>
              <a:gd name="connsiteX5" fmla="*/ 3522 w 8783"/>
              <a:gd name="connsiteY5" fmla="*/ 1461 h 10000"/>
              <a:gd name="connsiteX6" fmla="*/ 3582 w 8783"/>
              <a:gd name="connsiteY6" fmla="*/ 1796 h 10000"/>
              <a:gd name="connsiteX7" fmla="*/ 3582 w 8783"/>
              <a:gd name="connsiteY7" fmla="*/ 9665 h 10000"/>
              <a:gd name="connsiteX8" fmla="*/ 3644 w 8783"/>
              <a:gd name="connsiteY8" fmla="*/ 10000 h 10000"/>
              <a:gd name="connsiteX9" fmla="*/ 5556 w 8783"/>
              <a:gd name="connsiteY9" fmla="*/ 10000 h 10000"/>
              <a:gd name="connsiteX10" fmla="*/ 5617 w 8783"/>
              <a:gd name="connsiteY10" fmla="*/ 9665 h 10000"/>
              <a:gd name="connsiteX11" fmla="*/ 5617 w 8783"/>
              <a:gd name="connsiteY11" fmla="*/ 335 h 10000"/>
              <a:gd name="connsiteX12" fmla="*/ 5678 w 8783"/>
              <a:gd name="connsiteY12" fmla="*/ 0 h 10000"/>
              <a:gd name="connsiteX13" fmla="*/ 7050 w 8783"/>
              <a:gd name="connsiteY13" fmla="*/ 0 h 10000"/>
              <a:gd name="connsiteX14" fmla="*/ 7114 w 8783"/>
              <a:gd name="connsiteY14" fmla="*/ 335 h 10000"/>
              <a:gd name="connsiteX15" fmla="*/ 7114 w 8783"/>
              <a:gd name="connsiteY15" fmla="*/ 8575 h 10000"/>
              <a:gd name="connsiteX16" fmla="*/ 7176 w 8783"/>
              <a:gd name="connsiteY16" fmla="*/ 8910 h 10000"/>
              <a:gd name="connsiteX17" fmla="*/ 8783 w 8783"/>
              <a:gd name="connsiteY17" fmla="*/ 8893 h 10000"/>
              <a:gd name="connsiteX0" fmla="*/ 0 w 9997"/>
              <a:gd name="connsiteY0" fmla="*/ 7857 h 10000"/>
              <a:gd name="connsiteX1" fmla="*/ 716 w 9997"/>
              <a:gd name="connsiteY1" fmla="*/ 7868 h 10000"/>
              <a:gd name="connsiteX2" fmla="*/ 787 w 9997"/>
              <a:gd name="connsiteY2" fmla="*/ 7533 h 10000"/>
              <a:gd name="connsiteX3" fmla="*/ 787 w 9997"/>
              <a:gd name="connsiteY3" fmla="*/ 1796 h 10000"/>
              <a:gd name="connsiteX4" fmla="*/ 855 w 9997"/>
              <a:gd name="connsiteY4" fmla="*/ 1461 h 10000"/>
              <a:gd name="connsiteX5" fmla="*/ 4010 w 9997"/>
              <a:gd name="connsiteY5" fmla="*/ 1461 h 10000"/>
              <a:gd name="connsiteX6" fmla="*/ 4078 w 9997"/>
              <a:gd name="connsiteY6" fmla="*/ 1796 h 10000"/>
              <a:gd name="connsiteX7" fmla="*/ 4078 w 9997"/>
              <a:gd name="connsiteY7" fmla="*/ 9665 h 10000"/>
              <a:gd name="connsiteX8" fmla="*/ 4149 w 9997"/>
              <a:gd name="connsiteY8" fmla="*/ 10000 h 10000"/>
              <a:gd name="connsiteX9" fmla="*/ 6326 w 9997"/>
              <a:gd name="connsiteY9" fmla="*/ 10000 h 10000"/>
              <a:gd name="connsiteX10" fmla="*/ 6395 w 9997"/>
              <a:gd name="connsiteY10" fmla="*/ 9665 h 10000"/>
              <a:gd name="connsiteX11" fmla="*/ 6395 w 9997"/>
              <a:gd name="connsiteY11" fmla="*/ 335 h 10000"/>
              <a:gd name="connsiteX12" fmla="*/ 6465 w 9997"/>
              <a:gd name="connsiteY12" fmla="*/ 0 h 10000"/>
              <a:gd name="connsiteX13" fmla="*/ 8027 w 9997"/>
              <a:gd name="connsiteY13" fmla="*/ 0 h 10000"/>
              <a:gd name="connsiteX14" fmla="*/ 8100 w 9997"/>
              <a:gd name="connsiteY14" fmla="*/ 335 h 10000"/>
              <a:gd name="connsiteX15" fmla="*/ 8100 w 9997"/>
              <a:gd name="connsiteY15" fmla="*/ 8575 h 10000"/>
              <a:gd name="connsiteX16" fmla="*/ 8170 w 9997"/>
              <a:gd name="connsiteY16" fmla="*/ 8910 h 10000"/>
              <a:gd name="connsiteX17" fmla="*/ 9997 w 9997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1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68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10 h 10000"/>
              <a:gd name="connsiteX17" fmla="*/ 10000 w 10000"/>
              <a:gd name="connsiteY17" fmla="*/ 8927 h 10000"/>
              <a:gd name="connsiteX0" fmla="*/ 0 w 10000"/>
              <a:gd name="connsiteY0" fmla="*/ 7857 h 10000"/>
              <a:gd name="connsiteX1" fmla="*/ 726 w 10000"/>
              <a:gd name="connsiteY1" fmla="*/ 7855 h 10000"/>
              <a:gd name="connsiteX2" fmla="*/ 787 w 10000"/>
              <a:gd name="connsiteY2" fmla="*/ 7533 h 10000"/>
              <a:gd name="connsiteX3" fmla="*/ 787 w 10000"/>
              <a:gd name="connsiteY3" fmla="*/ 1796 h 10000"/>
              <a:gd name="connsiteX4" fmla="*/ 855 w 10000"/>
              <a:gd name="connsiteY4" fmla="*/ 1461 h 10000"/>
              <a:gd name="connsiteX5" fmla="*/ 4011 w 10000"/>
              <a:gd name="connsiteY5" fmla="*/ 1461 h 10000"/>
              <a:gd name="connsiteX6" fmla="*/ 4079 w 10000"/>
              <a:gd name="connsiteY6" fmla="*/ 1796 h 10000"/>
              <a:gd name="connsiteX7" fmla="*/ 4079 w 10000"/>
              <a:gd name="connsiteY7" fmla="*/ 9665 h 10000"/>
              <a:gd name="connsiteX8" fmla="*/ 4150 w 10000"/>
              <a:gd name="connsiteY8" fmla="*/ 10000 h 10000"/>
              <a:gd name="connsiteX9" fmla="*/ 6328 w 10000"/>
              <a:gd name="connsiteY9" fmla="*/ 10000 h 10000"/>
              <a:gd name="connsiteX10" fmla="*/ 6397 w 10000"/>
              <a:gd name="connsiteY10" fmla="*/ 9665 h 10000"/>
              <a:gd name="connsiteX11" fmla="*/ 6397 w 10000"/>
              <a:gd name="connsiteY11" fmla="*/ 335 h 10000"/>
              <a:gd name="connsiteX12" fmla="*/ 6467 w 10000"/>
              <a:gd name="connsiteY12" fmla="*/ 0 h 10000"/>
              <a:gd name="connsiteX13" fmla="*/ 8029 w 10000"/>
              <a:gd name="connsiteY13" fmla="*/ 0 h 10000"/>
              <a:gd name="connsiteX14" fmla="*/ 8102 w 10000"/>
              <a:gd name="connsiteY14" fmla="*/ 335 h 10000"/>
              <a:gd name="connsiteX15" fmla="*/ 8102 w 10000"/>
              <a:gd name="connsiteY15" fmla="*/ 8575 h 10000"/>
              <a:gd name="connsiteX16" fmla="*/ 8172 w 10000"/>
              <a:gd name="connsiteY16" fmla="*/ 8935 h 10000"/>
              <a:gd name="connsiteX17" fmla="*/ 10000 w 10000"/>
              <a:gd name="connsiteY17" fmla="*/ 8927 h 10000"/>
              <a:gd name="connsiteX0" fmla="*/ 0 w 10008"/>
              <a:gd name="connsiteY0" fmla="*/ 7857 h 10000"/>
              <a:gd name="connsiteX1" fmla="*/ 726 w 10008"/>
              <a:gd name="connsiteY1" fmla="*/ 7855 h 10000"/>
              <a:gd name="connsiteX2" fmla="*/ 787 w 10008"/>
              <a:gd name="connsiteY2" fmla="*/ 7533 h 10000"/>
              <a:gd name="connsiteX3" fmla="*/ 787 w 10008"/>
              <a:gd name="connsiteY3" fmla="*/ 1796 h 10000"/>
              <a:gd name="connsiteX4" fmla="*/ 855 w 10008"/>
              <a:gd name="connsiteY4" fmla="*/ 1461 h 10000"/>
              <a:gd name="connsiteX5" fmla="*/ 4011 w 10008"/>
              <a:gd name="connsiteY5" fmla="*/ 1461 h 10000"/>
              <a:gd name="connsiteX6" fmla="*/ 4079 w 10008"/>
              <a:gd name="connsiteY6" fmla="*/ 1796 h 10000"/>
              <a:gd name="connsiteX7" fmla="*/ 4079 w 10008"/>
              <a:gd name="connsiteY7" fmla="*/ 9665 h 10000"/>
              <a:gd name="connsiteX8" fmla="*/ 4150 w 10008"/>
              <a:gd name="connsiteY8" fmla="*/ 10000 h 10000"/>
              <a:gd name="connsiteX9" fmla="*/ 6328 w 10008"/>
              <a:gd name="connsiteY9" fmla="*/ 10000 h 10000"/>
              <a:gd name="connsiteX10" fmla="*/ 6397 w 10008"/>
              <a:gd name="connsiteY10" fmla="*/ 9665 h 10000"/>
              <a:gd name="connsiteX11" fmla="*/ 6397 w 10008"/>
              <a:gd name="connsiteY11" fmla="*/ 335 h 10000"/>
              <a:gd name="connsiteX12" fmla="*/ 6467 w 10008"/>
              <a:gd name="connsiteY12" fmla="*/ 0 h 10000"/>
              <a:gd name="connsiteX13" fmla="*/ 8029 w 10008"/>
              <a:gd name="connsiteY13" fmla="*/ 0 h 10000"/>
              <a:gd name="connsiteX14" fmla="*/ 8102 w 10008"/>
              <a:gd name="connsiteY14" fmla="*/ 335 h 10000"/>
              <a:gd name="connsiteX15" fmla="*/ 8102 w 10008"/>
              <a:gd name="connsiteY15" fmla="*/ 8575 h 10000"/>
              <a:gd name="connsiteX16" fmla="*/ 8172 w 10008"/>
              <a:gd name="connsiteY16" fmla="*/ 8935 h 10000"/>
              <a:gd name="connsiteX17" fmla="*/ 10008 w 10008"/>
              <a:gd name="connsiteY17" fmla="*/ 8927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40 h 10000"/>
              <a:gd name="connsiteX0" fmla="*/ 0 w 10016"/>
              <a:gd name="connsiteY0" fmla="*/ 7857 h 10000"/>
              <a:gd name="connsiteX1" fmla="*/ 726 w 10016"/>
              <a:gd name="connsiteY1" fmla="*/ 7855 h 10000"/>
              <a:gd name="connsiteX2" fmla="*/ 787 w 10016"/>
              <a:gd name="connsiteY2" fmla="*/ 7533 h 10000"/>
              <a:gd name="connsiteX3" fmla="*/ 787 w 10016"/>
              <a:gd name="connsiteY3" fmla="*/ 1796 h 10000"/>
              <a:gd name="connsiteX4" fmla="*/ 855 w 10016"/>
              <a:gd name="connsiteY4" fmla="*/ 1461 h 10000"/>
              <a:gd name="connsiteX5" fmla="*/ 4011 w 10016"/>
              <a:gd name="connsiteY5" fmla="*/ 1461 h 10000"/>
              <a:gd name="connsiteX6" fmla="*/ 4079 w 10016"/>
              <a:gd name="connsiteY6" fmla="*/ 1796 h 10000"/>
              <a:gd name="connsiteX7" fmla="*/ 4079 w 10016"/>
              <a:gd name="connsiteY7" fmla="*/ 9665 h 10000"/>
              <a:gd name="connsiteX8" fmla="*/ 4150 w 10016"/>
              <a:gd name="connsiteY8" fmla="*/ 10000 h 10000"/>
              <a:gd name="connsiteX9" fmla="*/ 6328 w 10016"/>
              <a:gd name="connsiteY9" fmla="*/ 10000 h 10000"/>
              <a:gd name="connsiteX10" fmla="*/ 6397 w 10016"/>
              <a:gd name="connsiteY10" fmla="*/ 9665 h 10000"/>
              <a:gd name="connsiteX11" fmla="*/ 6397 w 10016"/>
              <a:gd name="connsiteY11" fmla="*/ 335 h 10000"/>
              <a:gd name="connsiteX12" fmla="*/ 6467 w 10016"/>
              <a:gd name="connsiteY12" fmla="*/ 0 h 10000"/>
              <a:gd name="connsiteX13" fmla="*/ 8029 w 10016"/>
              <a:gd name="connsiteY13" fmla="*/ 0 h 10000"/>
              <a:gd name="connsiteX14" fmla="*/ 8102 w 10016"/>
              <a:gd name="connsiteY14" fmla="*/ 335 h 10000"/>
              <a:gd name="connsiteX15" fmla="*/ 8102 w 10016"/>
              <a:gd name="connsiteY15" fmla="*/ 8575 h 10000"/>
              <a:gd name="connsiteX16" fmla="*/ 8172 w 10016"/>
              <a:gd name="connsiteY16" fmla="*/ 8935 h 10000"/>
              <a:gd name="connsiteX17" fmla="*/ 10016 w 10016"/>
              <a:gd name="connsiteY17" fmla="*/ 8927 h 10000"/>
              <a:gd name="connsiteX0" fmla="*/ 0 w 10050"/>
              <a:gd name="connsiteY0" fmla="*/ 7857 h 10000"/>
              <a:gd name="connsiteX1" fmla="*/ 726 w 10050"/>
              <a:gd name="connsiteY1" fmla="*/ 7855 h 10000"/>
              <a:gd name="connsiteX2" fmla="*/ 787 w 10050"/>
              <a:gd name="connsiteY2" fmla="*/ 7533 h 10000"/>
              <a:gd name="connsiteX3" fmla="*/ 787 w 10050"/>
              <a:gd name="connsiteY3" fmla="*/ 1796 h 10000"/>
              <a:gd name="connsiteX4" fmla="*/ 855 w 10050"/>
              <a:gd name="connsiteY4" fmla="*/ 1461 h 10000"/>
              <a:gd name="connsiteX5" fmla="*/ 4011 w 10050"/>
              <a:gd name="connsiteY5" fmla="*/ 1461 h 10000"/>
              <a:gd name="connsiteX6" fmla="*/ 4079 w 10050"/>
              <a:gd name="connsiteY6" fmla="*/ 1796 h 10000"/>
              <a:gd name="connsiteX7" fmla="*/ 4079 w 10050"/>
              <a:gd name="connsiteY7" fmla="*/ 9665 h 10000"/>
              <a:gd name="connsiteX8" fmla="*/ 4150 w 10050"/>
              <a:gd name="connsiteY8" fmla="*/ 10000 h 10000"/>
              <a:gd name="connsiteX9" fmla="*/ 6328 w 10050"/>
              <a:gd name="connsiteY9" fmla="*/ 10000 h 10000"/>
              <a:gd name="connsiteX10" fmla="*/ 6397 w 10050"/>
              <a:gd name="connsiteY10" fmla="*/ 9665 h 10000"/>
              <a:gd name="connsiteX11" fmla="*/ 6397 w 10050"/>
              <a:gd name="connsiteY11" fmla="*/ 335 h 10000"/>
              <a:gd name="connsiteX12" fmla="*/ 6467 w 10050"/>
              <a:gd name="connsiteY12" fmla="*/ 0 h 10000"/>
              <a:gd name="connsiteX13" fmla="*/ 8029 w 10050"/>
              <a:gd name="connsiteY13" fmla="*/ 0 h 10000"/>
              <a:gd name="connsiteX14" fmla="*/ 8102 w 10050"/>
              <a:gd name="connsiteY14" fmla="*/ 335 h 10000"/>
              <a:gd name="connsiteX15" fmla="*/ 8102 w 10050"/>
              <a:gd name="connsiteY15" fmla="*/ 8575 h 10000"/>
              <a:gd name="connsiteX16" fmla="*/ 8172 w 10050"/>
              <a:gd name="connsiteY16" fmla="*/ 8935 h 10000"/>
              <a:gd name="connsiteX17" fmla="*/ 10050 w 10050"/>
              <a:gd name="connsiteY17" fmla="*/ 8927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40 h 10000"/>
              <a:gd name="connsiteX0" fmla="*/ 0 w 10037"/>
              <a:gd name="connsiteY0" fmla="*/ 7857 h 10000"/>
              <a:gd name="connsiteX1" fmla="*/ 726 w 10037"/>
              <a:gd name="connsiteY1" fmla="*/ 7855 h 10000"/>
              <a:gd name="connsiteX2" fmla="*/ 787 w 10037"/>
              <a:gd name="connsiteY2" fmla="*/ 7533 h 10000"/>
              <a:gd name="connsiteX3" fmla="*/ 787 w 10037"/>
              <a:gd name="connsiteY3" fmla="*/ 1796 h 10000"/>
              <a:gd name="connsiteX4" fmla="*/ 855 w 10037"/>
              <a:gd name="connsiteY4" fmla="*/ 1461 h 10000"/>
              <a:gd name="connsiteX5" fmla="*/ 4011 w 10037"/>
              <a:gd name="connsiteY5" fmla="*/ 1461 h 10000"/>
              <a:gd name="connsiteX6" fmla="*/ 4079 w 10037"/>
              <a:gd name="connsiteY6" fmla="*/ 1796 h 10000"/>
              <a:gd name="connsiteX7" fmla="*/ 4079 w 10037"/>
              <a:gd name="connsiteY7" fmla="*/ 9665 h 10000"/>
              <a:gd name="connsiteX8" fmla="*/ 4150 w 10037"/>
              <a:gd name="connsiteY8" fmla="*/ 10000 h 10000"/>
              <a:gd name="connsiteX9" fmla="*/ 6328 w 10037"/>
              <a:gd name="connsiteY9" fmla="*/ 10000 h 10000"/>
              <a:gd name="connsiteX10" fmla="*/ 6397 w 10037"/>
              <a:gd name="connsiteY10" fmla="*/ 9665 h 10000"/>
              <a:gd name="connsiteX11" fmla="*/ 6397 w 10037"/>
              <a:gd name="connsiteY11" fmla="*/ 335 h 10000"/>
              <a:gd name="connsiteX12" fmla="*/ 6467 w 10037"/>
              <a:gd name="connsiteY12" fmla="*/ 0 h 10000"/>
              <a:gd name="connsiteX13" fmla="*/ 8029 w 10037"/>
              <a:gd name="connsiteY13" fmla="*/ 0 h 10000"/>
              <a:gd name="connsiteX14" fmla="*/ 8102 w 10037"/>
              <a:gd name="connsiteY14" fmla="*/ 335 h 10000"/>
              <a:gd name="connsiteX15" fmla="*/ 8102 w 10037"/>
              <a:gd name="connsiteY15" fmla="*/ 8575 h 10000"/>
              <a:gd name="connsiteX16" fmla="*/ 8172 w 10037"/>
              <a:gd name="connsiteY16" fmla="*/ 8935 h 10000"/>
              <a:gd name="connsiteX17" fmla="*/ 10037 w 10037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34"/>
              <a:gd name="connsiteY0" fmla="*/ 7857 h 10000"/>
              <a:gd name="connsiteX1" fmla="*/ 726 w 10034"/>
              <a:gd name="connsiteY1" fmla="*/ 7855 h 10000"/>
              <a:gd name="connsiteX2" fmla="*/ 787 w 10034"/>
              <a:gd name="connsiteY2" fmla="*/ 7533 h 10000"/>
              <a:gd name="connsiteX3" fmla="*/ 787 w 10034"/>
              <a:gd name="connsiteY3" fmla="*/ 1796 h 10000"/>
              <a:gd name="connsiteX4" fmla="*/ 855 w 10034"/>
              <a:gd name="connsiteY4" fmla="*/ 1461 h 10000"/>
              <a:gd name="connsiteX5" fmla="*/ 4011 w 10034"/>
              <a:gd name="connsiteY5" fmla="*/ 1461 h 10000"/>
              <a:gd name="connsiteX6" fmla="*/ 4079 w 10034"/>
              <a:gd name="connsiteY6" fmla="*/ 1796 h 10000"/>
              <a:gd name="connsiteX7" fmla="*/ 4079 w 10034"/>
              <a:gd name="connsiteY7" fmla="*/ 9665 h 10000"/>
              <a:gd name="connsiteX8" fmla="*/ 4150 w 10034"/>
              <a:gd name="connsiteY8" fmla="*/ 10000 h 10000"/>
              <a:gd name="connsiteX9" fmla="*/ 6328 w 10034"/>
              <a:gd name="connsiteY9" fmla="*/ 10000 h 10000"/>
              <a:gd name="connsiteX10" fmla="*/ 6397 w 10034"/>
              <a:gd name="connsiteY10" fmla="*/ 9665 h 10000"/>
              <a:gd name="connsiteX11" fmla="*/ 6397 w 10034"/>
              <a:gd name="connsiteY11" fmla="*/ 335 h 10000"/>
              <a:gd name="connsiteX12" fmla="*/ 6467 w 10034"/>
              <a:gd name="connsiteY12" fmla="*/ 0 h 10000"/>
              <a:gd name="connsiteX13" fmla="*/ 8029 w 10034"/>
              <a:gd name="connsiteY13" fmla="*/ 0 h 10000"/>
              <a:gd name="connsiteX14" fmla="*/ 8102 w 10034"/>
              <a:gd name="connsiteY14" fmla="*/ 335 h 10000"/>
              <a:gd name="connsiteX15" fmla="*/ 8102 w 10034"/>
              <a:gd name="connsiteY15" fmla="*/ 8575 h 10000"/>
              <a:gd name="connsiteX16" fmla="*/ 8172 w 10034"/>
              <a:gd name="connsiteY16" fmla="*/ 8935 h 10000"/>
              <a:gd name="connsiteX17" fmla="*/ 10034 w 10034"/>
              <a:gd name="connsiteY17" fmla="*/ 8915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6"/>
              <a:gd name="connsiteY0" fmla="*/ 7857 h 10000"/>
              <a:gd name="connsiteX1" fmla="*/ 726 w 10026"/>
              <a:gd name="connsiteY1" fmla="*/ 7855 h 10000"/>
              <a:gd name="connsiteX2" fmla="*/ 787 w 10026"/>
              <a:gd name="connsiteY2" fmla="*/ 7533 h 10000"/>
              <a:gd name="connsiteX3" fmla="*/ 787 w 10026"/>
              <a:gd name="connsiteY3" fmla="*/ 1796 h 10000"/>
              <a:gd name="connsiteX4" fmla="*/ 855 w 10026"/>
              <a:gd name="connsiteY4" fmla="*/ 1461 h 10000"/>
              <a:gd name="connsiteX5" fmla="*/ 4011 w 10026"/>
              <a:gd name="connsiteY5" fmla="*/ 1461 h 10000"/>
              <a:gd name="connsiteX6" fmla="*/ 4079 w 10026"/>
              <a:gd name="connsiteY6" fmla="*/ 1796 h 10000"/>
              <a:gd name="connsiteX7" fmla="*/ 4079 w 10026"/>
              <a:gd name="connsiteY7" fmla="*/ 9665 h 10000"/>
              <a:gd name="connsiteX8" fmla="*/ 4150 w 10026"/>
              <a:gd name="connsiteY8" fmla="*/ 10000 h 10000"/>
              <a:gd name="connsiteX9" fmla="*/ 6328 w 10026"/>
              <a:gd name="connsiteY9" fmla="*/ 10000 h 10000"/>
              <a:gd name="connsiteX10" fmla="*/ 6397 w 10026"/>
              <a:gd name="connsiteY10" fmla="*/ 9665 h 10000"/>
              <a:gd name="connsiteX11" fmla="*/ 6397 w 10026"/>
              <a:gd name="connsiteY11" fmla="*/ 335 h 10000"/>
              <a:gd name="connsiteX12" fmla="*/ 6467 w 10026"/>
              <a:gd name="connsiteY12" fmla="*/ 0 h 10000"/>
              <a:gd name="connsiteX13" fmla="*/ 8029 w 10026"/>
              <a:gd name="connsiteY13" fmla="*/ 0 h 10000"/>
              <a:gd name="connsiteX14" fmla="*/ 8102 w 10026"/>
              <a:gd name="connsiteY14" fmla="*/ 335 h 10000"/>
              <a:gd name="connsiteX15" fmla="*/ 8102 w 10026"/>
              <a:gd name="connsiteY15" fmla="*/ 8575 h 10000"/>
              <a:gd name="connsiteX16" fmla="*/ 8172 w 10026"/>
              <a:gd name="connsiteY16" fmla="*/ 8935 h 10000"/>
              <a:gd name="connsiteX17" fmla="*/ 10026 w 10026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41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28 h 10000"/>
              <a:gd name="connsiteX0" fmla="*/ 0 w 10021"/>
              <a:gd name="connsiteY0" fmla="*/ 7857 h 10000"/>
              <a:gd name="connsiteX1" fmla="*/ 726 w 10021"/>
              <a:gd name="connsiteY1" fmla="*/ 7855 h 10000"/>
              <a:gd name="connsiteX2" fmla="*/ 787 w 10021"/>
              <a:gd name="connsiteY2" fmla="*/ 7533 h 10000"/>
              <a:gd name="connsiteX3" fmla="*/ 787 w 10021"/>
              <a:gd name="connsiteY3" fmla="*/ 1796 h 10000"/>
              <a:gd name="connsiteX4" fmla="*/ 855 w 10021"/>
              <a:gd name="connsiteY4" fmla="*/ 1461 h 10000"/>
              <a:gd name="connsiteX5" fmla="*/ 4011 w 10021"/>
              <a:gd name="connsiteY5" fmla="*/ 1461 h 10000"/>
              <a:gd name="connsiteX6" fmla="*/ 4079 w 10021"/>
              <a:gd name="connsiteY6" fmla="*/ 1796 h 10000"/>
              <a:gd name="connsiteX7" fmla="*/ 4079 w 10021"/>
              <a:gd name="connsiteY7" fmla="*/ 9665 h 10000"/>
              <a:gd name="connsiteX8" fmla="*/ 4150 w 10021"/>
              <a:gd name="connsiteY8" fmla="*/ 10000 h 10000"/>
              <a:gd name="connsiteX9" fmla="*/ 6328 w 10021"/>
              <a:gd name="connsiteY9" fmla="*/ 10000 h 10000"/>
              <a:gd name="connsiteX10" fmla="*/ 6397 w 10021"/>
              <a:gd name="connsiteY10" fmla="*/ 9665 h 10000"/>
              <a:gd name="connsiteX11" fmla="*/ 6397 w 10021"/>
              <a:gd name="connsiteY11" fmla="*/ 335 h 10000"/>
              <a:gd name="connsiteX12" fmla="*/ 6467 w 10021"/>
              <a:gd name="connsiteY12" fmla="*/ 0 h 10000"/>
              <a:gd name="connsiteX13" fmla="*/ 8029 w 10021"/>
              <a:gd name="connsiteY13" fmla="*/ 0 h 10000"/>
              <a:gd name="connsiteX14" fmla="*/ 8102 w 10021"/>
              <a:gd name="connsiteY14" fmla="*/ 335 h 10000"/>
              <a:gd name="connsiteX15" fmla="*/ 8102 w 10021"/>
              <a:gd name="connsiteY15" fmla="*/ 8575 h 10000"/>
              <a:gd name="connsiteX16" fmla="*/ 8172 w 10021"/>
              <a:gd name="connsiteY16" fmla="*/ 8935 h 10000"/>
              <a:gd name="connsiteX17" fmla="*/ 10021 w 10021"/>
              <a:gd name="connsiteY17" fmla="*/ 8966 h 10000"/>
              <a:gd name="connsiteX0" fmla="*/ 0 w 9995"/>
              <a:gd name="connsiteY0" fmla="*/ 7857 h 10000"/>
              <a:gd name="connsiteX1" fmla="*/ 726 w 9995"/>
              <a:gd name="connsiteY1" fmla="*/ 7855 h 10000"/>
              <a:gd name="connsiteX2" fmla="*/ 787 w 9995"/>
              <a:gd name="connsiteY2" fmla="*/ 7533 h 10000"/>
              <a:gd name="connsiteX3" fmla="*/ 787 w 9995"/>
              <a:gd name="connsiteY3" fmla="*/ 1796 h 10000"/>
              <a:gd name="connsiteX4" fmla="*/ 855 w 9995"/>
              <a:gd name="connsiteY4" fmla="*/ 1461 h 10000"/>
              <a:gd name="connsiteX5" fmla="*/ 4011 w 9995"/>
              <a:gd name="connsiteY5" fmla="*/ 1461 h 10000"/>
              <a:gd name="connsiteX6" fmla="*/ 4079 w 9995"/>
              <a:gd name="connsiteY6" fmla="*/ 1796 h 10000"/>
              <a:gd name="connsiteX7" fmla="*/ 4079 w 9995"/>
              <a:gd name="connsiteY7" fmla="*/ 9665 h 10000"/>
              <a:gd name="connsiteX8" fmla="*/ 4150 w 9995"/>
              <a:gd name="connsiteY8" fmla="*/ 10000 h 10000"/>
              <a:gd name="connsiteX9" fmla="*/ 6328 w 9995"/>
              <a:gd name="connsiteY9" fmla="*/ 10000 h 10000"/>
              <a:gd name="connsiteX10" fmla="*/ 6397 w 9995"/>
              <a:gd name="connsiteY10" fmla="*/ 9665 h 10000"/>
              <a:gd name="connsiteX11" fmla="*/ 6397 w 9995"/>
              <a:gd name="connsiteY11" fmla="*/ 335 h 10000"/>
              <a:gd name="connsiteX12" fmla="*/ 6467 w 9995"/>
              <a:gd name="connsiteY12" fmla="*/ 0 h 10000"/>
              <a:gd name="connsiteX13" fmla="*/ 8029 w 9995"/>
              <a:gd name="connsiteY13" fmla="*/ 0 h 10000"/>
              <a:gd name="connsiteX14" fmla="*/ 8102 w 9995"/>
              <a:gd name="connsiteY14" fmla="*/ 335 h 10000"/>
              <a:gd name="connsiteX15" fmla="*/ 8102 w 9995"/>
              <a:gd name="connsiteY15" fmla="*/ 8575 h 10000"/>
              <a:gd name="connsiteX16" fmla="*/ 8172 w 9995"/>
              <a:gd name="connsiteY16" fmla="*/ 8935 h 10000"/>
              <a:gd name="connsiteX17" fmla="*/ 9995 w 9995"/>
              <a:gd name="connsiteY17" fmla="*/ 8916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05"/>
              <a:gd name="connsiteY0" fmla="*/ 7857 h 10000"/>
              <a:gd name="connsiteX1" fmla="*/ 726 w 10005"/>
              <a:gd name="connsiteY1" fmla="*/ 7855 h 10000"/>
              <a:gd name="connsiteX2" fmla="*/ 787 w 10005"/>
              <a:gd name="connsiteY2" fmla="*/ 7533 h 10000"/>
              <a:gd name="connsiteX3" fmla="*/ 787 w 10005"/>
              <a:gd name="connsiteY3" fmla="*/ 1796 h 10000"/>
              <a:gd name="connsiteX4" fmla="*/ 855 w 10005"/>
              <a:gd name="connsiteY4" fmla="*/ 1461 h 10000"/>
              <a:gd name="connsiteX5" fmla="*/ 4013 w 10005"/>
              <a:gd name="connsiteY5" fmla="*/ 1461 h 10000"/>
              <a:gd name="connsiteX6" fmla="*/ 4081 w 10005"/>
              <a:gd name="connsiteY6" fmla="*/ 1796 h 10000"/>
              <a:gd name="connsiteX7" fmla="*/ 4081 w 10005"/>
              <a:gd name="connsiteY7" fmla="*/ 9665 h 10000"/>
              <a:gd name="connsiteX8" fmla="*/ 4152 w 10005"/>
              <a:gd name="connsiteY8" fmla="*/ 10000 h 10000"/>
              <a:gd name="connsiteX9" fmla="*/ 6331 w 10005"/>
              <a:gd name="connsiteY9" fmla="*/ 10000 h 10000"/>
              <a:gd name="connsiteX10" fmla="*/ 6400 w 10005"/>
              <a:gd name="connsiteY10" fmla="*/ 9665 h 10000"/>
              <a:gd name="connsiteX11" fmla="*/ 6400 w 10005"/>
              <a:gd name="connsiteY11" fmla="*/ 335 h 10000"/>
              <a:gd name="connsiteX12" fmla="*/ 6470 w 10005"/>
              <a:gd name="connsiteY12" fmla="*/ 0 h 10000"/>
              <a:gd name="connsiteX13" fmla="*/ 8033 w 10005"/>
              <a:gd name="connsiteY13" fmla="*/ 0 h 10000"/>
              <a:gd name="connsiteX14" fmla="*/ 8106 w 10005"/>
              <a:gd name="connsiteY14" fmla="*/ 335 h 10000"/>
              <a:gd name="connsiteX15" fmla="*/ 8106 w 10005"/>
              <a:gd name="connsiteY15" fmla="*/ 8575 h 10000"/>
              <a:gd name="connsiteX16" fmla="*/ 8176 w 10005"/>
              <a:gd name="connsiteY16" fmla="*/ 8935 h 10000"/>
              <a:gd name="connsiteX17" fmla="*/ 10005 w 10005"/>
              <a:gd name="connsiteY17" fmla="*/ 8941 h 10000"/>
              <a:gd name="connsiteX0" fmla="*/ 0 w 10015"/>
              <a:gd name="connsiteY0" fmla="*/ 7857 h 10000"/>
              <a:gd name="connsiteX1" fmla="*/ 726 w 10015"/>
              <a:gd name="connsiteY1" fmla="*/ 7855 h 10000"/>
              <a:gd name="connsiteX2" fmla="*/ 787 w 10015"/>
              <a:gd name="connsiteY2" fmla="*/ 7533 h 10000"/>
              <a:gd name="connsiteX3" fmla="*/ 787 w 10015"/>
              <a:gd name="connsiteY3" fmla="*/ 1796 h 10000"/>
              <a:gd name="connsiteX4" fmla="*/ 855 w 10015"/>
              <a:gd name="connsiteY4" fmla="*/ 1461 h 10000"/>
              <a:gd name="connsiteX5" fmla="*/ 4013 w 10015"/>
              <a:gd name="connsiteY5" fmla="*/ 1461 h 10000"/>
              <a:gd name="connsiteX6" fmla="*/ 4081 w 10015"/>
              <a:gd name="connsiteY6" fmla="*/ 1796 h 10000"/>
              <a:gd name="connsiteX7" fmla="*/ 4081 w 10015"/>
              <a:gd name="connsiteY7" fmla="*/ 9665 h 10000"/>
              <a:gd name="connsiteX8" fmla="*/ 4152 w 10015"/>
              <a:gd name="connsiteY8" fmla="*/ 10000 h 10000"/>
              <a:gd name="connsiteX9" fmla="*/ 6331 w 10015"/>
              <a:gd name="connsiteY9" fmla="*/ 10000 h 10000"/>
              <a:gd name="connsiteX10" fmla="*/ 6400 w 10015"/>
              <a:gd name="connsiteY10" fmla="*/ 9665 h 10000"/>
              <a:gd name="connsiteX11" fmla="*/ 6400 w 10015"/>
              <a:gd name="connsiteY11" fmla="*/ 335 h 10000"/>
              <a:gd name="connsiteX12" fmla="*/ 6470 w 10015"/>
              <a:gd name="connsiteY12" fmla="*/ 0 h 10000"/>
              <a:gd name="connsiteX13" fmla="*/ 8033 w 10015"/>
              <a:gd name="connsiteY13" fmla="*/ 0 h 10000"/>
              <a:gd name="connsiteX14" fmla="*/ 8106 w 10015"/>
              <a:gd name="connsiteY14" fmla="*/ 335 h 10000"/>
              <a:gd name="connsiteX15" fmla="*/ 8106 w 10015"/>
              <a:gd name="connsiteY15" fmla="*/ 8575 h 10000"/>
              <a:gd name="connsiteX16" fmla="*/ 8176 w 10015"/>
              <a:gd name="connsiteY16" fmla="*/ 8935 h 10000"/>
              <a:gd name="connsiteX17" fmla="*/ 10015 w 10015"/>
              <a:gd name="connsiteY17" fmla="*/ 894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0015" h="10000">
                <a:moveTo>
                  <a:pt x="0" y="7857"/>
                </a:moveTo>
                <a:cubicBezTo>
                  <a:pt x="34" y="7853"/>
                  <a:pt x="360" y="7855"/>
                  <a:pt x="726" y="7855"/>
                </a:cubicBezTo>
                <a:cubicBezTo>
                  <a:pt x="766" y="7855"/>
                  <a:pt x="787" y="7713"/>
                  <a:pt x="787" y="7533"/>
                </a:cubicBezTo>
                <a:lnTo>
                  <a:pt x="787" y="1796"/>
                </a:lnTo>
                <a:cubicBezTo>
                  <a:pt x="787" y="1605"/>
                  <a:pt x="815" y="1461"/>
                  <a:pt x="855" y="1461"/>
                </a:cubicBezTo>
                <a:lnTo>
                  <a:pt x="4013" y="1461"/>
                </a:lnTo>
                <a:cubicBezTo>
                  <a:pt x="4049" y="1461"/>
                  <a:pt x="4081" y="1605"/>
                  <a:pt x="4081" y="1796"/>
                </a:cubicBezTo>
                <a:lnTo>
                  <a:pt x="4081" y="9665"/>
                </a:lnTo>
                <a:cubicBezTo>
                  <a:pt x="4081" y="9844"/>
                  <a:pt x="4112" y="10000"/>
                  <a:pt x="4152" y="10000"/>
                </a:cubicBezTo>
                <a:lnTo>
                  <a:pt x="6331" y="10000"/>
                </a:lnTo>
                <a:cubicBezTo>
                  <a:pt x="6371" y="10000"/>
                  <a:pt x="6400" y="9844"/>
                  <a:pt x="6400" y="9665"/>
                </a:cubicBezTo>
                <a:lnTo>
                  <a:pt x="6400" y="335"/>
                </a:lnTo>
                <a:cubicBezTo>
                  <a:pt x="6400" y="156"/>
                  <a:pt x="6432" y="0"/>
                  <a:pt x="6470" y="0"/>
                </a:cubicBezTo>
                <a:lnTo>
                  <a:pt x="8033" y="0"/>
                </a:lnTo>
                <a:cubicBezTo>
                  <a:pt x="8075" y="0"/>
                  <a:pt x="8106" y="156"/>
                  <a:pt x="8106" y="335"/>
                </a:cubicBezTo>
                <a:lnTo>
                  <a:pt x="8106" y="8575"/>
                </a:lnTo>
                <a:cubicBezTo>
                  <a:pt x="8106" y="8754"/>
                  <a:pt x="8138" y="8935"/>
                  <a:pt x="8176" y="8935"/>
                </a:cubicBezTo>
                <a:cubicBezTo>
                  <a:pt x="8276" y="8937"/>
                  <a:pt x="9405" y="8939"/>
                  <a:pt x="10015" y="8941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Freeform 10"/>
          <p:cNvSpPr>
            <a:spLocks/>
          </p:cNvSpPr>
          <p:nvPr userDrawn="1"/>
        </p:nvSpPr>
        <p:spPr bwMode="gray">
          <a:xfrm>
            <a:off x="3" y="4482313"/>
            <a:ext cx="9143997" cy="1084634"/>
          </a:xfrm>
          <a:custGeom>
            <a:avLst/>
            <a:gdLst>
              <a:gd name="T0" fmla="*/ 0 w 8479"/>
              <a:gd name="T1" fmla="*/ 130 h 583"/>
              <a:gd name="T2" fmla="*/ 419 w 8479"/>
              <a:gd name="T3" fmla="*/ 130 h 583"/>
              <a:gd name="T4" fmla="*/ 447 w 8479"/>
              <a:gd name="T5" fmla="*/ 158 h 583"/>
              <a:gd name="T6" fmla="*/ 447 w 8479"/>
              <a:gd name="T7" fmla="*/ 458 h 583"/>
              <a:gd name="T8" fmla="*/ 475 w 8479"/>
              <a:gd name="T9" fmla="*/ 486 h 583"/>
              <a:gd name="T10" fmla="*/ 1724 w 8479"/>
              <a:gd name="T11" fmla="*/ 486 h 583"/>
              <a:gd name="T12" fmla="*/ 1752 w 8479"/>
              <a:gd name="T13" fmla="*/ 458 h 583"/>
              <a:gd name="T14" fmla="*/ 1752 w 8479"/>
              <a:gd name="T15" fmla="*/ 36 h 583"/>
              <a:gd name="T16" fmla="*/ 1780 w 8479"/>
              <a:gd name="T17" fmla="*/ 8 h 583"/>
              <a:gd name="T18" fmla="*/ 2675 w 8479"/>
              <a:gd name="T19" fmla="*/ 8 h 583"/>
              <a:gd name="T20" fmla="*/ 2703 w 8479"/>
              <a:gd name="T21" fmla="*/ 36 h 583"/>
              <a:gd name="T22" fmla="*/ 2703 w 8479"/>
              <a:gd name="T23" fmla="*/ 458 h 583"/>
              <a:gd name="T24" fmla="*/ 2731 w 8479"/>
              <a:gd name="T25" fmla="*/ 486 h 583"/>
              <a:gd name="T26" fmla="*/ 4228 w 8479"/>
              <a:gd name="T27" fmla="*/ 486 h 583"/>
              <a:gd name="T28" fmla="*/ 4256 w 8479"/>
              <a:gd name="T29" fmla="*/ 458 h 583"/>
              <a:gd name="T30" fmla="*/ 4256 w 8479"/>
              <a:gd name="T31" fmla="*/ 214 h 583"/>
              <a:gd name="T32" fmla="*/ 4284 w 8479"/>
              <a:gd name="T33" fmla="*/ 186 h 583"/>
              <a:gd name="T34" fmla="*/ 5867 w 8479"/>
              <a:gd name="T35" fmla="*/ 186 h 583"/>
              <a:gd name="T36" fmla="*/ 5895 w 8479"/>
              <a:gd name="T37" fmla="*/ 214 h 583"/>
              <a:gd name="T38" fmla="*/ 5895 w 8479"/>
              <a:gd name="T39" fmla="*/ 309 h 583"/>
              <a:gd name="T40" fmla="*/ 5923 w 8479"/>
              <a:gd name="T41" fmla="*/ 337 h 583"/>
              <a:gd name="T42" fmla="*/ 6495 w 8479"/>
              <a:gd name="T43" fmla="*/ 337 h 583"/>
              <a:gd name="T44" fmla="*/ 6523 w 8479"/>
              <a:gd name="T45" fmla="*/ 309 h 583"/>
              <a:gd name="T46" fmla="*/ 6523 w 8479"/>
              <a:gd name="T47" fmla="*/ 28 h 583"/>
              <a:gd name="T48" fmla="*/ 6551 w 8479"/>
              <a:gd name="T49" fmla="*/ 0 h 583"/>
              <a:gd name="T50" fmla="*/ 7543 w 8479"/>
              <a:gd name="T51" fmla="*/ 0 h 583"/>
              <a:gd name="T52" fmla="*/ 7571 w 8479"/>
              <a:gd name="T53" fmla="*/ 28 h 583"/>
              <a:gd name="T54" fmla="*/ 7571 w 8479"/>
              <a:gd name="T55" fmla="*/ 555 h 583"/>
              <a:gd name="T56" fmla="*/ 7599 w 8479"/>
              <a:gd name="T57" fmla="*/ 583 h 583"/>
              <a:gd name="T58" fmla="*/ 8479 w 8479"/>
              <a:gd name="T59" fmla="*/ 583 h 583"/>
              <a:gd name="connsiteX0" fmla="*/ 0 w 9506"/>
              <a:gd name="connsiteY0" fmla="*/ 2230 h 10000"/>
              <a:gd name="connsiteX1" fmla="*/ 33 w 9506"/>
              <a:gd name="connsiteY1" fmla="*/ 2710 h 10000"/>
              <a:gd name="connsiteX2" fmla="*/ 33 w 9506"/>
              <a:gd name="connsiteY2" fmla="*/ 7856 h 10000"/>
              <a:gd name="connsiteX3" fmla="*/ 66 w 9506"/>
              <a:gd name="connsiteY3" fmla="*/ 8336 h 10000"/>
              <a:gd name="connsiteX4" fmla="*/ 1539 w 9506"/>
              <a:gd name="connsiteY4" fmla="*/ 8336 h 10000"/>
              <a:gd name="connsiteX5" fmla="*/ 1572 w 9506"/>
              <a:gd name="connsiteY5" fmla="*/ 7856 h 10000"/>
              <a:gd name="connsiteX6" fmla="*/ 1572 w 9506"/>
              <a:gd name="connsiteY6" fmla="*/ 617 h 10000"/>
              <a:gd name="connsiteX7" fmla="*/ 1605 w 9506"/>
              <a:gd name="connsiteY7" fmla="*/ 137 h 10000"/>
              <a:gd name="connsiteX8" fmla="*/ 2661 w 9506"/>
              <a:gd name="connsiteY8" fmla="*/ 137 h 10000"/>
              <a:gd name="connsiteX9" fmla="*/ 2694 w 9506"/>
              <a:gd name="connsiteY9" fmla="*/ 617 h 10000"/>
              <a:gd name="connsiteX10" fmla="*/ 2694 w 9506"/>
              <a:gd name="connsiteY10" fmla="*/ 7856 h 10000"/>
              <a:gd name="connsiteX11" fmla="*/ 2727 w 9506"/>
              <a:gd name="connsiteY11" fmla="*/ 8336 h 10000"/>
              <a:gd name="connsiteX12" fmla="*/ 4492 w 9506"/>
              <a:gd name="connsiteY12" fmla="*/ 8336 h 10000"/>
              <a:gd name="connsiteX13" fmla="*/ 4525 w 9506"/>
              <a:gd name="connsiteY13" fmla="*/ 7856 h 10000"/>
              <a:gd name="connsiteX14" fmla="*/ 4525 w 9506"/>
              <a:gd name="connsiteY14" fmla="*/ 3671 h 10000"/>
              <a:gd name="connsiteX15" fmla="*/ 4558 w 9506"/>
              <a:gd name="connsiteY15" fmla="*/ 3190 h 10000"/>
              <a:gd name="connsiteX16" fmla="*/ 6425 w 9506"/>
              <a:gd name="connsiteY16" fmla="*/ 3190 h 10000"/>
              <a:gd name="connsiteX17" fmla="*/ 6458 w 9506"/>
              <a:gd name="connsiteY17" fmla="*/ 3671 h 10000"/>
              <a:gd name="connsiteX18" fmla="*/ 6458 w 9506"/>
              <a:gd name="connsiteY18" fmla="*/ 5300 h 10000"/>
              <a:gd name="connsiteX19" fmla="*/ 6491 w 9506"/>
              <a:gd name="connsiteY19" fmla="*/ 5780 h 10000"/>
              <a:gd name="connsiteX20" fmla="*/ 7166 w 9506"/>
              <a:gd name="connsiteY20" fmla="*/ 5780 h 10000"/>
              <a:gd name="connsiteX21" fmla="*/ 7199 w 9506"/>
              <a:gd name="connsiteY21" fmla="*/ 5300 h 10000"/>
              <a:gd name="connsiteX22" fmla="*/ 7199 w 9506"/>
              <a:gd name="connsiteY22" fmla="*/ 480 h 10000"/>
              <a:gd name="connsiteX23" fmla="*/ 7232 w 9506"/>
              <a:gd name="connsiteY23" fmla="*/ 0 h 10000"/>
              <a:gd name="connsiteX24" fmla="*/ 8402 w 9506"/>
              <a:gd name="connsiteY24" fmla="*/ 0 h 10000"/>
              <a:gd name="connsiteX25" fmla="*/ 8435 w 9506"/>
              <a:gd name="connsiteY25" fmla="*/ 480 h 10000"/>
              <a:gd name="connsiteX26" fmla="*/ 8435 w 9506"/>
              <a:gd name="connsiteY26" fmla="*/ 9520 h 10000"/>
              <a:gd name="connsiteX27" fmla="*/ 8468 w 9506"/>
              <a:gd name="connsiteY27" fmla="*/ 10000 h 10000"/>
              <a:gd name="connsiteX28" fmla="*/ 9506 w 9506"/>
              <a:gd name="connsiteY28" fmla="*/ 10000 h 10000"/>
              <a:gd name="connsiteX0" fmla="*/ 0 w 9965"/>
              <a:gd name="connsiteY0" fmla="*/ 2710 h 10000"/>
              <a:gd name="connsiteX1" fmla="*/ 0 w 9965"/>
              <a:gd name="connsiteY1" fmla="*/ 7856 h 10000"/>
              <a:gd name="connsiteX2" fmla="*/ 34 w 9965"/>
              <a:gd name="connsiteY2" fmla="*/ 8336 h 10000"/>
              <a:gd name="connsiteX3" fmla="*/ 1584 w 9965"/>
              <a:gd name="connsiteY3" fmla="*/ 8336 h 10000"/>
              <a:gd name="connsiteX4" fmla="*/ 1619 w 9965"/>
              <a:gd name="connsiteY4" fmla="*/ 7856 h 10000"/>
              <a:gd name="connsiteX5" fmla="*/ 1619 w 9965"/>
              <a:gd name="connsiteY5" fmla="*/ 617 h 10000"/>
              <a:gd name="connsiteX6" fmla="*/ 1653 w 9965"/>
              <a:gd name="connsiteY6" fmla="*/ 137 h 10000"/>
              <a:gd name="connsiteX7" fmla="*/ 2764 w 9965"/>
              <a:gd name="connsiteY7" fmla="*/ 137 h 10000"/>
              <a:gd name="connsiteX8" fmla="*/ 2799 w 9965"/>
              <a:gd name="connsiteY8" fmla="*/ 617 h 10000"/>
              <a:gd name="connsiteX9" fmla="*/ 2799 w 9965"/>
              <a:gd name="connsiteY9" fmla="*/ 7856 h 10000"/>
              <a:gd name="connsiteX10" fmla="*/ 2834 w 9965"/>
              <a:gd name="connsiteY10" fmla="*/ 8336 h 10000"/>
              <a:gd name="connsiteX11" fmla="*/ 4690 w 9965"/>
              <a:gd name="connsiteY11" fmla="*/ 8336 h 10000"/>
              <a:gd name="connsiteX12" fmla="*/ 4725 w 9965"/>
              <a:gd name="connsiteY12" fmla="*/ 7856 h 10000"/>
              <a:gd name="connsiteX13" fmla="*/ 4725 w 9965"/>
              <a:gd name="connsiteY13" fmla="*/ 3671 h 10000"/>
              <a:gd name="connsiteX14" fmla="*/ 4760 w 9965"/>
              <a:gd name="connsiteY14" fmla="*/ 3190 h 10000"/>
              <a:gd name="connsiteX15" fmla="*/ 6724 w 9965"/>
              <a:gd name="connsiteY15" fmla="*/ 3190 h 10000"/>
              <a:gd name="connsiteX16" fmla="*/ 6759 w 9965"/>
              <a:gd name="connsiteY16" fmla="*/ 3671 h 10000"/>
              <a:gd name="connsiteX17" fmla="*/ 6759 w 9965"/>
              <a:gd name="connsiteY17" fmla="*/ 5300 h 10000"/>
              <a:gd name="connsiteX18" fmla="*/ 6793 w 9965"/>
              <a:gd name="connsiteY18" fmla="*/ 5780 h 10000"/>
              <a:gd name="connsiteX19" fmla="*/ 7503 w 9965"/>
              <a:gd name="connsiteY19" fmla="*/ 5780 h 10000"/>
              <a:gd name="connsiteX20" fmla="*/ 7538 w 9965"/>
              <a:gd name="connsiteY20" fmla="*/ 5300 h 10000"/>
              <a:gd name="connsiteX21" fmla="*/ 7538 w 9965"/>
              <a:gd name="connsiteY21" fmla="*/ 480 h 10000"/>
              <a:gd name="connsiteX22" fmla="*/ 7573 w 9965"/>
              <a:gd name="connsiteY22" fmla="*/ 0 h 10000"/>
              <a:gd name="connsiteX23" fmla="*/ 8804 w 9965"/>
              <a:gd name="connsiteY23" fmla="*/ 0 h 10000"/>
              <a:gd name="connsiteX24" fmla="*/ 8838 w 9965"/>
              <a:gd name="connsiteY24" fmla="*/ 480 h 10000"/>
              <a:gd name="connsiteX25" fmla="*/ 8838 w 9965"/>
              <a:gd name="connsiteY25" fmla="*/ 9520 h 10000"/>
              <a:gd name="connsiteX26" fmla="*/ 8873 w 9965"/>
              <a:gd name="connsiteY26" fmla="*/ 10000 h 10000"/>
              <a:gd name="connsiteX27" fmla="*/ 9965 w 9965"/>
              <a:gd name="connsiteY27" fmla="*/ 10000 h 10000"/>
              <a:gd name="connsiteX0" fmla="*/ 0 w 10000"/>
              <a:gd name="connsiteY0" fmla="*/ 7856 h 10000"/>
              <a:gd name="connsiteX1" fmla="*/ 34 w 10000"/>
              <a:gd name="connsiteY1" fmla="*/ 8336 h 10000"/>
              <a:gd name="connsiteX2" fmla="*/ 1590 w 10000"/>
              <a:gd name="connsiteY2" fmla="*/ 8336 h 10000"/>
              <a:gd name="connsiteX3" fmla="*/ 1625 w 10000"/>
              <a:gd name="connsiteY3" fmla="*/ 7856 h 10000"/>
              <a:gd name="connsiteX4" fmla="*/ 1625 w 10000"/>
              <a:gd name="connsiteY4" fmla="*/ 617 h 10000"/>
              <a:gd name="connsiteX5" fmla="*/ 1659 w 10000"/>
              <a:gd name="connsiteY5" fmla="*/ 137 h 10000"/>
              <a:gd name="connsiteX6" fmla="*/ 2774 w 10000"/>
              <a:gd name="connsiteY6" fmla="*/ 137 h 10000"/>
              <a:gd name="connsiteX7" fmla="*/ 2809 w 10000"/>
              <a:gd name="connsiteY7" fmla="*/ 617 h 10000"/>
              <a:gd name="connsiteX8" fmla="*/ 2809 w 10000"/>
              <a:gd name="connsiteY8" fmla="*/ 7856 h 10000"/>
              <a:gd name="connsiteX9" fmla="*/ 2844 w 10000"/>
              <a:gd name="connsiteY9" fmla="*/ 8336 h 10000"/>
              <a:gd name="connsiteX10" fmla="*/ 4706 w 10000"/>
              <a:gd name="connsiteY10" fmla="*/ 8336 h 10000"/>
              <a:gd name="connsiteX11" fmla="*/ 4742 w 10000"/>
              <a:gd name="connsiteY11" fmla="*/ 7856 h 10000"/>
              <a:gd name="connsiteX12" fmla="*/ 4742 w 10000"/>
              <a:gd name="connsiteY12" fmla="*/ 3671 h 10000"/>
              <a:gd name="connsiteX13" fmla="*/ 4777 w 10000"/>
              <a:gd name="connsiteY13" fmla="*/ 3190 h 10000"/>
              <a:gd name="connsiteX14" fmla="*/ 6748 w 10000"/>
              <a:gd name="connsiteY14" fmla="*/ 3190 h 10000"/>
              <a:gd name="connsiteX15" fmla="*/ 6783 w 10000"/>
              <a:gd name="connsiteY15" fmla="*/ 3671 h 10000"/>
              <a:gd name="connsiteX16" fmla="*/ 6783 w 10000"/>
              <a:gd name="connsiteY16" fmla="*/ 5300 h 10000"/>
              <a:gd name="connsiteX17" fmla="*/ 6817 w 10000"/>
              <a:gd name="connsiteY17" fmla="*/ 5780 h 10000"/>
              <a:gd name="connsiteX18" fmla="*/ 7529 w 10000"/>
              <a:gd name="connsiteY18" fmla="*/ 5780 h 10000"/>
              <a:gd name="connsiteX19" fmla="*/ 7564 w 10000"/>
              <a:gd name="connsiteY19" fmla="*/ 5300 h 10000"/>
              <a:gd name="connsiteX20" fmla="*/ 7564 w 10000"/>
              <a:gd name="connsiteY20" fmla="*/ 480 h 10000"/>
              <a:gd name="connsiteX21" fmla="*/ 7600 w 10000"/>
              <a:gd name="connsiteY21" fmla="*/ 0 h 10000"/>
              <a:gd name="connsiteX22" fmla="*/ 8835 w 10000"/>
              <a:gd name="connsiteY22" fmla="*/ 0 h 10000"/>
              <a:gd name="connsiteX23" fmla="*/ 8869 w 10000"/>
              <a:gd name="connsiteY23" fmla="*/ 480 h 10000"/>
              <a:gd name="connsiteX24" fmla="*/ 8869 w 10000"/>
              <a:gd name="connsiteY24" fmla="*/ 9520 h 10000"/>
              <a:gd name="connsiteX25" fmla="*/ 8904 w 10000"/>
              <a:gd name="connsiteY25" fmla="*/ 10000 h 10000"/>
              <a:gd name="connsiteX26" fmla="*/ 10000 w 10000"/>
              <a:gd name="connsiteY26" fmla="*/ 10000 h 10000"/>
              <a:gd name="connsiteX0" fmla="*/ 0 w 9966"/>
              <a:gd name="connsiteY0" fmla="*/ 8336 h 10000"/>
              <a:gd name="connsiteX1" fmla="*/ 1556 w 9966"/>
              <a:gd name="connsiteY1" fmla="*/ 8336 h 10000"/>
              <a:gd name="connsiteX2" fmla="*/ 1591 w 9966"/>
              <a:gd name="connsiteY2" fmla="*/ 7856 h 10000"/>
              <a:gd name="connsiteX3" fmla="*/ 1591 w 9966"/>
              <a:gd name="connsiteY3" fmla="*/ 617 h 10000"/>
              <a:gd name="connsiteX4" fmla="*/ 1625 w 9966"/>
              <a:gd name="connsiteY4" fmla="*/ 137 h 10000"/>
              <a:gd name="connsiteX5" fmla="*/ 2740 w 9966"/>
              <a:gd name="connsiteY5" fmla="*/ 137 h 10000"/>
              <a:gd name="connsiteX6" fmla="*/ 2775 w 9966"/>
              <a:gd name="connsiteY6" fmla="*/ 617 h 10000"/>
              <a:gd name="connsiteX7" fmla="*/ 2775 w 9966"/>
              <a:gd name="connsiteY7" fmla="*/ 7856 h 10000"/>
              <a:gd name="connsiteX8" fmla="*/ 2810 w 9966"/>
              <a:gd name="connsiteY8" fmla="*/ 8336 h 10000"/>
              <a:gd name="connsiteX9" fmla="*/ 4672 w 9966"/>
              <a:gd name="connsiteY9" fmla="*/ 8336 h 10000"/>
              <a:gd name="connsiteX10" fmla="*/ 4708 w 9966"/>
              <a:gd name="connsiteY10" fmla="*/ 7856 h 10000"/>
              <a:gd name="connsiteX11" fmla="*/ 4708 w 9966"/>
              <a:gd name="connsiteY11" fmla="*/ 3671 h 10000"/>
              <a:gd name="connsiteX12" fmla="*/ 4743 w 9966"/>
              <a:gd name="connsiteY12" fmla="*/ 3190 h 10000"/>
              <a:gd name="connsiteX13" fmla="*/ 6714 w 9966"/>
              <a:gd name="connsiteY13" fmla="*/ 3190 h 10000"/>
              <a:gd name="connsiteX14" fmla="*/ 6749 w 9966"/>
              <a:gd name="connsiteY14" fmla="*/ 3671 h 10000"/>
              <a:gd name="connsiteX15" fmla="*/ 6749 w 9966"/>
              <a:gd name="connsiteY15" fmla="*/ 5300 h 10000"/>
              <a:gd name="connsiteX16" fmla="*/ 6783 w 9966"/>
              <a:gd name="connsiteY16" fmla="*/ 5780 h 10000"/>
              <a:gd name="connsiteX17" fmla="*/ 7495 w 9966"/>
              <a:gd name="connsiteY17" fmla="*/ 5780 h 10000"/>
              <a:gd name="connsiteX18" fmla="*/ 7530 w 9966"/>
              <a:gd name="connsiteY18" fmla="*/ 5300 h 10000"/>
              <a:gd name="connsiteX19" fmla="*/ 7530 w 9966"/>
              <a:gd name="connsiteY19" fmla="*/ 480 h 10000"/>
              <a:gd name="connsiteX20" fmla="*/ 7566 w 9966"/>
              <a:gd name="connsiteY20" fmla="*/ 0 h 10000"/>
              <a:gd name="connsiteX21" fmla="*/ 8801 w 9966"/>
              <a:gd name="connsiteY21" fmla="*/ 0 h 10000"/>
              <a:gd name="connsiteX22" fmla="*/ 8835 w 9966"/>
              <a:gd name="connsiteY22" fmla="*/ 480 h 10000"/>
              <a:gd name="connsiteX23" fmla="*/ 8835 w 9966"/>
              <a:gd name="connsiteY23" fmla="*/ 9520 h 10000"/>
              <a:gd name="connsiteX24" fmla="*/ 8870 w 9966"/>
              <a:gd name="connsiteY24" fmla="*/ 10000 h 10000"/>
              <a:gd name="connsiteX25" fmla="*/ 9966 w 9966"/>
              <a:gd name="connsiteY25" fmla="*/ 10000 h 10000"/>
              <a:gd name="connsiteX0" fmla="*/ 0 w 8439"/>
              <a:gd name="connsiteY0" fmla="*/ 8336 h 10000"/>
              <a:gd name="connsiteX1" fmla="*/ 35 w 8439"/>
              <a:gd name="connsiteY1" fmla="*/ 7856 h 10000"/>
              <a:gd name="connsiteX2" fmla="*/ 35 w 8439"/>
              <a:gd name="connsiteY2" fmla="*/ 617 h 10000"/>
              <a:gd name="connsiteX3" fmla="*/ 70 w 8439"/>
              <a:gd name="connsiteY3" fmla="*/ 137 h 10000"/>
              <a:gd name="connsiteX4" fmla="*/ 1188 w 8439"/>
              <a:gd name="connsiteY4" fmla="*/ 137 h 10000"/>
              <a:gd name="connsiteX5" fmla="*/ 1223 w 8439"/>
              <a:gd name="connsiteY5" fmla="*/ 617 h 10000"/>
              <a:gd name="connsiteX6" fmla="*/ 1223 w 8439"/>
              <a:gd name="connsiteY6" fmla="*/ 7856 h 10000"/>
              <a:gd name="connsiteX7" fmla="*/ 1259 w 8439"/>
              <a:gd name="connsiteY7" fmla="*/ 8336 h 10000"/>
              <a:gd name="connsiteX8" fmla="*/ 3127 w 8439"/>
              <a:gd name="connsiteY8" fmla="*/ 8336 h 10000"/>
              <a:gd name="connsiteX9" fmla="*/ 3163 w 8439"/>
              <a:gd name="connsiteY9" fmla="*/ 7856 h 10000"/>
              <a:gd name="connsiteX10" fmla="*/ 3163 w 8439"/>
              <a:gd name="connsiteY10" fmla="*/ 3671 h 10000"/>
              <a:gd name="connsiteX11" fmla="*/ 3198 w 8439"/>
              <a:gd name="connsiteY11" fmla="*/ 3190 h 10000"/>
              <a:gd name="connsiteX12" fmla="*/ 5176 w 8439"/>
              <a:gd name="connsiteY12" fmla="*/ 3190 h 10000"/>
              <a:gd name="connsiteX13" fmla="*/ 5211 w 8439"/>
              <a:gd name="connsiteY13" fmla="*/ 3671 h 10000"/>
              <a:gd name="connsiteX14" fmla="*/ 5211 w 8439"/>
              <a:gd name="connsiteY14" fmla="*/ 5300 h 10000"/>
              <a:gd name="connsiteX15" fmla="*/ 5245 w 8439"/>
              <a:gd name="connsiteY15" fmla="*/ 5780 h 10000"/>
              <a:gd name="connsiteX16" fmla="*/ 5960 w 8439"/>
              <a:gd name="connsiteY16" fmla="*/ 5780 h 10000"/>
              <a:gd name="connsiteX17" fmla="*/ 5995 w 8439"/>
              <a:gd name="connsiteY17" fmla="*/ 5300 h 10000"/>
              <a:gd name="connsiteX18" fmla="*/ 5995 w 8439"/>
              <a:gd name="connsiteY18" fmla="*/ 480 h 10000"/>
              <a:gd name="connsiteX19" fmla="*/ 6031 w 8439"/>
              <a:gd name="connsiteY19" fmla="*/ 0 h 10000"/>
              <a:gd name="connsiteX20" fmla="*/ 7270 w 8439"/>
              <a:gd name="connsiteY20" fmla="*/ 0 h 10000"/>
              <a:gd name="connsiteX21" fmla="*/ 7304 w 8439"/>
              <a:gd name="connsiteY21" fmla="*/ 480 h 10000"/>
              <a:gd name="connsiteX22" fmla="*/ 7304 w 8439"/>
              <a:gd name="connsiteY22" fmla="*/ 9520 h 10000"/>
              <a:gd name="connsiteX23" fmla="*/ 7339 w 8439"/>
              <a:gd name="connsiteY23" fmla="*/ 10000 h 10000"/>
              <a:gd name="connsiteX24" fmla="*/ 8439 w 8439"/>
              <a:gd name="connsiteY24" fmla="*/ 10000 h 10000"/>
              <a:gd name="connsiteX0" fmla="*/ 0 w 9959"/>
              <a:gd name="connsiteY0" fmla="*/ 7856 h 10000"/>
              <a:gd name="connsiteX1" fmla="*/ 0 w 9959"/>
              <a:gd name="connsiteY1" fmla="*/ 617 h 10000"/>
              <a:gd name="connsiteX2" fmla="*/ 42 w 9959"/>
              <a:gd name="connsiteY2" fmla="*/ 137 h 10000"/>
              <a:gd name="connsiteX3" fmla="*/ 1367 w 9959"/>
              <a:gd name="connsiteY3" fmla="*/ 137 h 10000"/>
              <a:gd name="connsiteX4" fmla="*/ 1408 w 9959"/>
              <a:gd name="connsiteY4" fmla="*/ 617 h 10000"/>
              <a:gd name="connsiteX5" fmla="*/ 1408 w 9959"/>
              <a:gd name="connsiteY5" fmla="*/ 7856 h 10000"/>
              <a:gd name="connsiteX6" fmla="*/ 1451 w 9959"/>
              <a:gd name="connsiteY6" fmla="*/ 8336 h 10000"/>
              <a:gd name="connsiteX7" fmla="*/ 3664 w 9959"/>
              <a:gd name="connsiteY7" fmla="*/ 8336 h 10000"/>
              <a:gd name="connsiteX8" fmla="*/ 3707 w 9959"/>
              <a:gd name="connsiteY8" fmla="*/ 7856 h 10000"/>
              <a:gd name="connsiteX9" fmla="*/ 3707 w 9959"/>
              <a:gd name="connsiteY9" fmla="*/ 3671 h 10000"/>
              <a:gd name="connsiteX10" fmla="*/ 3749 w 9959"/>
              <a:gd name="connsiteY10" fmla="*/ 3190 h 10000"/>
              <a:gd name="connsiteX11" fmla="*/ 6092 w 9959"/>
              <a:gd name="connsiteY11" fmla="*/ 3190 h 10000"/>
              <a:gd name="connsiteX12" fmla="*/ 6134 w 9959"/>
              <a:gd name="connsiteY12" fmla="*/ 3671 h 10000"/>
              <a:gd name="connsiteX13" fmla="*/ 6134 w 9959"/>
              <a:gd name="connsiteY13" fmla="*/ 5300 h 10000"/>
              <a:gd name="connsiteX14" fmla="*/ 6174 w 9959"/>
              <a:gd name="connsiteY14" fmla="*/ 5780 h 10000"/>
              <a:gd name="connsiteX15" fmla="*/ 7021 w 9959"/>
              <a:gd name="connsiteY15" fmla="*/ 5780 h 10000"/>
              <a:gd name="connsiteX16" fmla="*/ 7063 w 9959"/>
              <a:gd name="connsiteY16" fmla="*/ 5300 h 10000"/>
              <a:gd name="connsiteX17" fmla="*/ 7063 w 9959"/>
              <a:gd name="connsiteY17" fmla="*/ 480 h 10000"/>
              <a:gd name="connsiteX18" fmla="*/ 7106 w 9959"/>
              <a:gd name="connsiteY18" fmla="*/ 0 h 10000"/>
              <a:gd name="connsiteX19" fmla="*/ 8574 w 9959"/>
              <a:gd name="connsiteY19" fmla="*/ 0 h 10000"/>
              <a:gd name="connsiteX20" fmla="*/ 8614 w 9959"/>
              <a:gd name="connsiteY20" fmla="*/ 480 h 10000"/>
              <a:gd name="connsiteX21" fmla="*/ 8614 w 9959"/>
              <a:gd name="connsiteY21" fmla="*/ 9520 h 10000"/>
              <a:gd name="connsiteX22" fmla="*/ 8656 w 9959"/>
              <a:gd name="connsiteY22" fmla="*/ 10000 h 10000"/>
              <a:gd name="connsiteX23" fmla="*/ 9959 w 9959"/>
              <a:gd name="connsiteY23" fmla="*/ 10000 h 10000"/>
              <a:gd name="connsiteX0" fmla="*/ 0 w 10000"/>
              <a:gd name="connsiteY0" fmla="*/ 617 h 10000"/>
              <a:gd name="connsiteX1" fmla="*/ 42 w 10000"/>
              <a:gd name="connsiteY1" fmla="*/ 137 h 10000"/>
              <a:gd name="connsiteX2" fmla="*/ 1373 w 10000"/>
              <a:gd name="connsiteY2" fmla="*/ 137 h 10000"/>
              <a:gd name="connsiteX3" fmla="*/ 1414 w 10000"/>
              <a:gd name="connsiteY3" fmla="*/ 617 h 10000"/>
              <a:gd name="connsiteX4" fmla="*/ 1414 w 10000"/>
              <a:gd name="connsiteY4" fmla="*/ 7856 h 10000"/>
              <a:gd name="connsiteX5" fmla="*/ 1457 w 10000"/>
              <a:gd name="connsiteY5" fmla="*/ 8336 h 10000"/>
              <a:gd name="connsiteX6" fmla="*/ 3679 w 10000"/>
              <a:gd name="connsiteY6" fmla="*/ 8336 h 10000"/>
              <a:gd name="connsiteX7" fmla="*/ 3722 w 10000"/>
              <a:gd name="connsiteY7" fmla="*/ 7856 h 10000"/>
              <a:gd name="connsiteX8" fmla="*/ 3722 w 10000"/>
              <a:gd name="connsiteY8" fmla="*/ 3671 h 10000"/>
              <a:gd name="connsiteX9" fmla="*/ 3764 w 10000"/>
              <a:gd name="connsiteY9" fmla="*/ 3190 h 10000"/>
              <a:gd name="connsiteX10" fmla="*/ 6117 w 10000"/>
              <a:gd name="connsiteY10" fmla="*/ 3190 h 10000"/>
              <a:gd name="connsiteX11" fmla="*/ 6159 w 10000"/>
              <a:gd name="connsiteY11" fmla="*/ 3671 h 10000"/>
              <a:gd name="connsiteX12" fmla="*/ 6159 w 10000"/>
              <a:gd name="connsiteY12" fmla="*/ 5300 h 10000"/>
              <a:gd name="connsiteX13" fmla="*/ 6199 w 10000"/>
              <a:gd name="connsiteY13" fmla="*/ 5780 h 10000"/>
              <a:gd name="connsiteX14" fmla="*/ 7050 w 10000"/>
              <a:gd name="connsiteY14" fmla="*/ 5780 h 10000"/>
              <a:gd name="connsiteX15" fmla="*/ 7092 w 10000"/>
              <a:gd name="connsiteY15" fmla="*/ 5300 h 10000"/>
              <a:gd name="connsiteX16" fmla="*/ 7092 w 10000"/>
              <a:gd name="connsiteY16" fmla="*/ 480 h 10000"/>
              <a:gd name="connsiteX17" fmla="*/ 7135 w 10000"/>
              <a:gd name="connsiteY17" fmla="*/ 0 h 10000"/>
              <a:gd name="connsiteX18" fmla="*/ 8609 w 10000"/>
              <a:gd name="connsiteY18" fmla="*/ 0 h 10000"/>
              <a:gd name="connsiteX19" fmla="*/ 8649 w 10000"/>
              <a:gd name="connsiteY19" fmla="*/ 480 h 10000"/>
              <a:gd name="connsiteX20" fmla="*/ 8649 w 10000"/>
              <a:gd name="connsiteY20" fmla="*/ 9520 h 10000"/>
              <a:gd name="connsiteX21" fmla="*/ 8692 w 10000"/>
              <a:gd name="connsiteY21" fmla="*/ 10000 h 10000"/>
              <a:gd name="connsiteX22" fmla="*/ 10000 w 10000"/>
              <a:gd name="connsiteY22" fmla="*/ 10000 h 10000"/>
              <a:gd name="connsiteX0" fmla="*/ 0 w 8692"/>
              <a:gd name="connsiteY0" fmla="*/ 617 h 10000"/>
              <a:gd name="connsiteX1" fmla="*/ 42 w 8692"/>
              <a:gd name="connsiteY1" fmla="*/ 137 h 10000"/>
              <a:gd name="connsiteX2" fmla="*/ 1373 w 8692"/>
              <a:gd name="connsiteY2" fmla="*/ 137 h 10000"/>
              <a:gd name="connsiteX3" fmla="*/ 1414 w 8692"/>
              <a:gd name="connsiteY3" fmla="*/ 617 h 10000"/>
              <a:gd name="connsiteX4" fmla="*/ 1414 w 8692"/>
              <a:gd name="connsiteY4" fmla="*/ 7856 h 10000"/>
              <a:gd name="connsiteX5" fmla="*/ 1457 w 8692"/>
              <a:gd name="connsiteY5" fmla="*/ 8336 h 10000"/>
              <a:gd name="connsiteX6" fmla="*/ 3679 w 8692"/>
              <a:gd name="connsiteY6" fmla="*/ 8336 h 10000"/>
              <a:gd name="connsiteX7" fmla="*/ 3722 w 8692"/>
              <a:gd name="connsiteY7" fmla="*/ 7856 h 10000"/>
              <a:gd name="connsiteX8" fmla="*/ 3722 w 8692"/>
              <a:gd name="connsiteY8" fmla="*/ 3671 h 10000"/>
              <a:gd name="connsiteX9" fmla="*/ 3764 w 8692"/>
              <a:gd name="connsiteY9" fmla="*/ 3190 h 10000"/>
              <a:gd name="connsiteX10" fmla="*/ 6117 w 8692"/>
              <a:gd name="connsiteY10" fmla="*/ 3190 h 10000"/>
              <a:gd name="connsiteX11" fmla="*/ 6159 w 8692"/>
              <a:gd name="connsiteY11" fmla="*/ 3671 h 10000"/>
              <a:gd name="connsiteX12" fmla="*/ 6159 w 8692"/>
              <a:gd name="connsiteY12" fmla="*/ 5300 h 10000"/>
              <a:gd name="connsiteX13" fmla="*/ 6199 w 8692"/>
              <a:gd name="connsiteY13" fmla="*/ 5780 h 10000"/>
              <a:gd name="connsiteX14" fmla="*/ 7050 w 8692"/>
              <a:gd name="connsiteY14" fmla="*/ 5780 h 10000"/>
              <a:gd name="connsiteX15" fmla="*/ 7092 w 8692"/>
              <a:gd name="connsiteY15" fmla="*/ 5300 h 10000"/>
              <a:gd name="connsiteX16" fmla="*/ 7092 w 8692"/>
              <a:gd name="connsiteY16" fmla="*/ 480 h 10000"/>
              <a:gd name="connsiteX17" fmla="*/ 7135 w 8692"/>
              <a:gd name="connsiteY17" fmla="*/ 0 h 10000"/>
              <a:gd name="connsiteX18" fmla="*/ 8609 w 8692"/>
              <a:gd name="connsiteY18" fmla="*/ 0 h 10000"/>
              <a:gd name="connsiteX19" fmla="*/ 8649 w 8692"/>
              <a:gd name="connsiteY19" fmla="*/ 480 h 10000"/>
              <a:gd name="connsiteX20" fmla="*/ 8649 w 8692"/>
              <a:gd name="connsiteY20" fmla="*/ 9520 h 10000"/>
              <a:gd name="connsiteX21" fmla="*/ 8692 w 8692"/>
              <a:gd name="connsiteY21" fmla="*/ 10000 h 10000"/>
              <a:gd name="connsiteX0" fmla="*/ 0 w 9951"/>
              <a:gd name="connsiteY0" fmla="*/ 617 h 9520"/>
              <a:gd name="connsiteX1" fmla="*/ 48 w 9951"/>
              <a:gd name="connsiteY1" fmla="*/ 137 h 9520"/>
              <a:gd name="connsiteX2" fmla="*/ 1580 w 9951"/>
              <a:gd name="connsiteY2" fmla="*/ 137 h 9520"/>
              <a:gd name="connsiteX3" fmla="*/ 1627 w 9951"/>
              <a:gd name="connsiteY3" fmla="*/ 617 h 9520"/>
              <a:gd name="connsiteX4" fmla="*/ 1627 w 9951"/>
              <a:gd name="connsiteY4" fmla="*/ 7856 h 9520"/>
              <a:gd name="connsiteX5" fmla="*/ 1676 w 9951"/>
              <a:gd name="connsiteY5" fmla="*/ 8336 h 9520"/>
              <a:gd name="connsiteX6" fmla="*/ 4233 w 9951"/>
              <a:gd name="connsiteY6" fmla="*/ 8336 h 9520"/>
              <a:gd name="connsiteX7" fmla="*/ 4282 w 9951"/>
              <a:gd name="connsiteY7" fmla="*/ 7856 h 9520"/>
              <a:gd name="connsiteX8" fmla="*/ 4282 w 9951"/>
              <a:gd name="connsiteY8" fmla="*/ 3671 h 9520"/>
              <a:gd name="connsiteX9" fmla="*/ 4330 w 9951"/>
              <a:gd name="connsiteY9" fmla="*/ 3190 h 9520"/>
              <a:gd name="connsiteX10" fmla="*/ 7038 w 9951"/>
              <a:gd name="connsiteY10" fmla="*/ 3190 h 9520"/>
              <a:gd name="connsiteX11" fmla="*/ 7086 w 9951"/>
              <a:gd name="connsiteY11" fmla="*/ 3671 h 9520"/>
              <a:gd name="connsiteX12" fmla="*/ 7086 w 9951"/>
              <a:gd name="connsiteY12" fmla="*/ 5300 h 9520"/>
              <a:gd name="connsiteX13" fmla="*/ 7132 w 9951"/>
              <a:gd name="connsiteY13" fmla="*/ 5780 h 9520"/>
              <a:gd name="connsiteX14" fmla="*/ 8111 w 9951"/>
              <a:gd name="connsiteY14" fmla="*/ 5780 h 9520"/>
              <a:gd name="connsiteX15" fmla="*/ 8159 w 9951"/>
              <a:gd name="connsiteY15" fmla="*/ 5300 h 9520"/>
              <a:gd name="connsiteX16" fmla="*/ 8159 w 9951"/>
              <a:gd name="connsiteY16" fmla="*/ 480 h 9520"/>
              <a:gd name="connsiteX17" fmla="*/ 8209 w 9951"/>
              <a:gd name="connsiteY17" fmla="*/ 0 h 9520"/>
              <a:gd name="connsiteX18" fmla="*/ 9905 w 9951"/>
              <a:gd name="connsiteY18" fmla="*/ 0 h 9520"/>
              <a:gd name="connsiteX19" fmla="*/ 9951 w 9951"/>
              <a:gd name="connsiteY19" fmla="*/ 480 h 9520"/>
              <a:gd name="connsiteX20" fmla="*/ 9951 w 9951"/>
              <a:gd name="connsiteY20" fmla="*/ 9520 h 9520"/>
              <a:gd name="connsiteX0" fmla="*/ 0 w 10000"/>
              <a:gd name="connsiteY0" fmla="*/ 648 h 8756"/>
              <a:gd name="connsiteX1" fmla="*/ 48 w 10000"/>
              <a:gd name="connsiteY1" fmla="*/ 144 h 8756"/>
              <a:gd name="connsiteX2" fmla="*/ 1588 w 10000"/>
              <a:gd name="connsiteY2" fmla="*/ 144 h 8756"/>
              <a:gd name="connsiteX3" fmla="*/ 1635 w 10000"/>
              <a:gd name="connsiteY3" fmla="*/ 648 h 8756"/>
              <a:gd name="connsiteX4" fmla="*/ 1635 w 10000"/>
              <a:gd name="connsiteY4" fmla="*/ 8252 h 8756"/>
              <a:gd name="connsiteX5" fmla="*/ 1684 w 10000"/>
              <a:gd name="connsiteY5" fmla="*/ 8756 h 8756"/>
              <a:gd name="connsiteX6" fmla="*/ 4254 w 10000"/>
              <a:gd name="connsiteY6" fmla="*/ 8756 h 8756"/>
              <a:gd name="connsiteX7" fmla="*/ 4303 w 10000"/>
              <a:gd name="connsiteY7" fmla="*/ 8252 h 8756"/>
              <a:gd name="connsiteX8" fmla="*/ 4303 w 10000"/>
              <a:gd name="connsiteY8" fmla="*/ 3856 h 8756"/>
              <a:gd name="connsiteX9" fmla="*/ 4351 w 10000"/>
              <a:gd name="connsiteY9" fmla="*/ 3351 h 8756"/>
              <a:gd name="connsiteX10" fmla="*/ 7073 w 10000"/>
              <a:gd name="connsiteY10" fmla="*/ 3351 h 8756"/>
              <a:gd name="connsiteX11" fmla="*/ 7121 w 10000"/>
              <a:gd name="connsiteY11" fmla="*/ 3856 h 8756"/>
              <a:gd name="connsiteX12" fmla="*/ 7121 w 10000"/>
              <a:gd name="connsiteY12" fmla="*/ 5567 h 8756"/>
              <a:gd name="connsiteX13" fmla="*/ 7167 w 10000"/>
              <a:gd name="connsiteY13" fmla="*/ 6071 h 8756"/>
              <a:gd name="connsiteX14" fmla="*/ 8151 w 10000"/>
              <a:gd name="connsiteY14" fmla="*/ 6071 h 8756"/>
              <a:gd name="connsiteX15" fmla="*/ 8199 w 10000"/>
              <a:gd name="connsiteY15" fmla="*/ 5567 h 8756"/>
              <a:gd name="connsiteX16" fmla="*/ 8199 w 10000"/>
              <a:gd name="connsiteY16" fmla="*/ 504 h 8756"/>
              <a:gd name="connsiteX17" fmla="*/ 8249 w 10000"/>
              <a:gd name="connsiteY17" fmla="*/ 0 h 8756"/>
              <a:gd name="connsiteX18" fmla="*/ 9954 w 10000"/>
              <a:gd name="connsiteY18" fmla="*/ 0 h 8756"/>
              <a:gd name="connsiteX19" fmla="*/ 10000 w 10000"/>
              <a:gd name="connsiteY19" fmla="*/ 504 h 8756"/>
              <a:gd name="connsiteX0" fmla="*/ 0 w 9954"/>
              <a:gd name="connsiteY0" fmla="*/ 740 h 10000"/>
              <a:gd name="connsiteX1" fmla="*/ 48 w 9954"/>
              <a:gd name="connsiteY1" fmla="*/ 164 h 10000"/>
              <a:gd name="connsiteX2" fmla="*/ 1588 w 9954"/>
              <a:gd name="connsiteY2" fmla="*/ 164 h 10000"/>
              <a:gd name="connsiteX3" fmla="*/ 1635 w 9954"/>
              <a:gd name="connsiteY3" fmla="*/ 740 h 10000"/>
              <a:gd name="connsiteX4" fmla="*/ 1635 w 9954"/>
              <a:gd name="connsiteY4" fmla="*/ 9424 h 10000"/>
              <a:gd name="connsiteX5" fmla="*/ 1684 w 9954"/>
              <a:gd name="connsiteY5" fmla="*/ 10000 h 10000"/>
              <a:gd name="connsiteX6" fmla="*/ 4254 w 9954"/>
              <a:gd name="connsiteY6" fmla="*/ 10000 h 10000"/>
              <a:gd name="connsiteX7" fmla="*/ 4303 w 9954"/>
              <a:gd name="connsiteY7" fmla="*/ 9424 h 10000"/>
              <a:gd name="connsiteX8" fmla="*/ 4303 w 9954"/>
              <a:gd name="connsiteY8" fmla="*/ 4404 h 10000"/>
              <a:gd name="connsiteX9" fmla="*/ 4351 w 9954"/>
              <a:gd name="connsiteY9" fmla="*/ 3827 h 10000"/>
              <a:gd name="connsiteX10" fmla="*/ 7073 w 9954"/>
              <a:gd name="connsiteY10" fmla="*/ 3827 h 10000"/>
              <a:gd name="connsiteX11" fmla="*/ 7121 w 9954"/>
              <a:gd name="connsiteY11" fmla="*/ 4404 h 10000"/>
              <a:gd name="connsiteX12" fmla="*/ 7121 w 9954"/>
              <a:gd name="connsiteY12" fmla="*/ 6358 h 10000"/>
              <a:gd name="connsiteX13" fmla="*/ 7167 w 9954"/>
              <a:gd name="connsiteY13" fmla="*/ 6934 h 10000"/>
              <a:gd name="connsiteX14" fmla="*/ 8151 w 9954"/>
              <a:gd name="connsiteY14" fmla="*/ 6934 h 10000"/>
              <a:gd name="connsiteX15" fmla="*/ 8199 w 9954"/>
              <a:gd name="connsiteY15" fmla="*/ 6358 h 10000"/>
              <a:gd name="connsiteX16" fmla="*/ 8199 w 9954"/>
              <a:gd name="connsiteY16" fmla="*/ 576 h 10000"/>
              <a:gd name="connsiteX17" fmla="*/ 8249 w 9954"/>
              <a:gd name="connsiteY17" fmla="*/ 0 h 10000"/>
              <a:gd name="connsiteX18" fmla="*/ 9954 w 9954"/>
              <a:gd name="connsiteY18" fmla="*/ 0 h 10000"/>
              <a:gd name="connsiteX0" fmla="*/ 0 w 8287"/>
              <a:gd name="connsiteY0" fmla="*/ 740 h 10000"/>
              <a:gd name="connsiteX1" fmla="*/ 48 w 8287"/>
              <a:gd name="connsiteY1" fmla="*/ 164 h 10000"/>
              <a:gd name="connsiteX2" fmla="*/ 1595 w 8287"/>
              <a:gd name="connsiteY2" fmla="*/ 164 h 10000"/>
              <a:gd name="connsiteX3" fmla="*/ 1643 w 8287"/>
              <a:gd name="connsiteY3" fmla="*/ 740 h 10000"/>
              <a:gd name="connsiteX4" fmla="*/ 1643 w 8287"/>
              <a:gd name="connsiteY4" fmla="*/ 9424 h 10000"/>
              <a:gd name="connsiteX5" fmla="*/ 1692 w 8287"/>
              <a:gd name="connsiteY5" fmla="*/ 10000 h 10000"/>
              <a:gd name="connsiteX6" fmla="*/ 4274 w 8287"/>
              <a:gd name="connsiteY6" fmla="*/ 10000 h 10000"/>
              <a:gd name="connsiteX7" fmla="*/ 4323 w 8287"/>
              <a:gd name="connsiteY7" fmla="*/ 9424 h 10000"/>
              <a:gd name="connsiteX8" fmla="*/ 4323 w 8287"/>
              <a:gd name="connsiteY8" fmla="*/ 4404 h 10000"/>
              <a:gd name="connsiteX9" fmla="*/ 4371 w 8287"/>
              <a:gd name="connsiteY9" fmla="*/ 3827 h 10000"/>
              <a:gd name="connsiteX10" fmla="*/ 7106 w 8287"/>
              <a:gd name="connsiteY10" fmla="*/ 3827 h 10000"/>
              <a:gd name="connsiteX11" fmla="*/ 7154 w 8287"/>
              <a:gd name="connsiteY11" fmla="*/ 4404 h 10000"/>
              <a:gd name="connsiteX12" fmla="*/ 7154 w 8287"/>
              <a:gd name="connsiteY12" fmla="*/ 6358 h 10000"/>
              <a:gd name="connsiteX13" fmla="*/ 7200 w 8287"/>
              <a:gd name="connsiteY13" fmla="*/ 6934 h 10000"/>
              <a:gd name="connsiteX14" fmla="*/ 8189 w 8287"/>
              <a:gd name="connsiteY14" fmla="*/ 6934 h 10000"/>
              <a:gd name="connsiteX15" fmla="*/ 8237 w 8287"/>
              <a:gd name="connsiteY15" fmla="*/ 6358 h 10000"/>
              <a:gd name="connsiteX16" fmla="*/ 8237 w 8287"/>
              <a:gd name="connsiteY16" fmla="*/ 576 h 10000"/>
              <a:gd name="connsiteX17" fmla="*/ 8287 w 8287"/>
              <a:gd name="connsiteY17" fmla="*/ 0 h 10000"/>
              <a:gd name="connsiteX0" fmla="*/ 0 w 9940"/>
              <a:gd name="connsiteY0" fmla="*/ 576 h 9836"/>
              <a:gd name="connsiteX1" fmla="*/ 58 w 9940"/>
              <a:gd name="connsiteY1" fmla="*/ 0 h 9836"/>
              <a:gd name="connsiteX2" fmla="*/ 1925 w 9940"/>
              <a:gd name="connsiteY2" fmla="*/ 0 h 9836"/>
              <a:gd name="connsiteX3" fmla="*/ 1983 w 9940"/>
              <a:gd name="connsiteY3" fmla="*/ 576 h 9836"/>
              <a:gd name="connsiteX4" fmla="*/ 1983 w 9940"/>
              <a:gd name="connsiteY4" fmla="*/ 9260 h 9836"/>
              <a:gd name="connsiteX5" fmla="*/ 2042 w 9940"/>
              <a:gd name="connsiteY5" fmla="*/ 9836 h 9836"/>
              <a:gd name="connsiteX6" fmla="*/ 5157 w 9940"/>
              <a:gd name="connsiteY6" fmla="*/ 9836 h 9836"/>
              <a:gd name="connsiteX7" fmla="*/ 5217 w 9940"/>
              <a:gd name="connsiteY7" fmla="*/ 9260 h 9836"/>
              <a:gd name="connsiteX8" fmla="*/ 5217 w 9940"/>
              <a:gd name="connsiteY8" fmla="*/ 4240 h 9836"/>
              <a:gd name="connsiteX9" fmla="*/ 5275 w 9940"/>
              <a:gd name="connsiteY9" fmla="*/ 3663 h 9836"/>
              <a:gd name="connsiteX10" fmla="*/ 8575 w 9940"/>
              <a:gd name="connsiteY10" fmla="*/ 3663 h 9836"/>
              <a:gd name="connsiteX11" fmla="*/ 8633 w 9940"/>
              <a:gd name="connsiteY11" fmla="*/ 4240 h 9836"/>
              <a:gd name="connsiteX12" fmla="*/ 8633 w 9940"/>
              <a:gd name="connsiteY12" fmla="*/ 6194 h 9836"/>
              <a:gd name="connsiteX13" fmla="*/ 8688 w 9940"/>
              <a:gd name="connsiteY13" fmla="*/ 6770 h 9836"/>
              <a:gd name="connsiteX14" fmla="*/ 9882 w 9940"/>
              <a:gd name="connsiteY14" fmla="*/ 6770 h 9836"/>
              <a:gd name="connsiteX15" fmla="*/ 9940 w 9940"/>
              <a:gd name="connsiteY15" fmla="*/ 6194 h 9836"/>
              <a:gd name="connsiteX16" fmla="*/ 9940 w 9940"/>
              <a:gd name="connsiteY16" fmla="*/ 412 h 9836"/>
              <a:gd name="connsiteX0" fmla="*/ 0 w 10000"/>
              <a:gd name="connsiteY0" fmla="*/ 586 h 10000"/>
              <a:gd name="connsiteX1" fmla="*/ 58 w 10000"/>
              <a:gd name="connsiteY1" fmla="*/ 0 h 10000"/>
              <a:gd name="connsiteX2" fmla="*/ 1937 w 10000"/>
              <a:gd name="connsiteY2" fmla="*/ 0 h 10000"/>
              <a:gd name="connsiteX3" fmla="*/ 1995 w 10000"/>
              <a:gd name="connsiteY3" fmla="*/ 586 h 10000"/>
              <a:gd name="connsiteX4" fmla="*/ 1995 w 10000"/>
              <a:gd name="connsiteY4" fmla="*/ 9414 h 10000"/>
              <a:gd name="connsiteX5" fmla="*/ 2054 w 10000"/>
              <a:gd name="connsiteY5" fmla="*/ 10000 h 10000"/>
              <a:gd name="connsiteX6" fmla="*/ 5188 w 10000"/>
              <a:gd name="connsiteY6" fmla="*/ 10000 h 10000"/>
              <a:gd name="connsiteX7" fmla="*/ 5248 w 10000"/>
              <a:gd name="connsiteY7" fmla="*/ 9414 h 10000"/>
              <a:gd name="connsiteX8" fmla="*/ 5248 w 10000"/>
              <a:gd name="connsiteY8" fmla="*/ 4311 h 10000"/>
              <a:gd name="connsiteX9" fmla="*/ 5307 w 10000"/>
              <a:gd name="connsiteY9" fmla="*/ 3724 h 10000"/>
              <a:gd name="connsiteX10" fmla="*/ 8627 w 10000"/>
              <a:gd name="connsiteY10" fmla="*/ 3724 h 10000"/>
              <a:gd name="connsiteX11" fmla="*/ 8685 w 10000"/>
              <a:gd name="connsiteY11" fmla="*/ 4311 h 10000"/>
              <a:gd name="connsiteX12" fmla="*/ 8685 w 10000"/>
              <a:gd name="connsiteY12" fmla="*/ 6297 h 10000"/>
              <a:gd name="connsiteX13" fmla="*/ 8740 w 10000"/>
              <a:gd name="connsiteY13" fmla="*/ 6883 h 10000"/>
              <a:gd name="connsiteX14" fmla="*/ 9942 w 10000"/>
              <a:gd name="connsiteY14" fmla="*/ 6883 h 10000"/>
              <a:gd name="connsiteX15" fmla="*/ 10000 w 10000"/>
              <a:gd name="connsiteY15" fmla="*/ 6297 h 10000"/>
              <a:gd name="connsiteX0" fmla="*/ 0 w 10000"/>
              <a:gd name="connsiteY0" fmla="*/ 586 h 10000"/>
              <a:gd name="connsiteX1" fmla="*/ 1937 w 10000"/>
              <a:gd name="connsiteY1" fmla="*/ 0 h 10000"/>
              <a:gd name="connsiteX2" fmla="*/ 1995 w 10000"/>
              <a:gd name="connsiteY2" fmla="*/ 586 h 10000"/>
              <a:gd name="connsiteX3" fmla="*/ 1995 w 10000"/>
              <a:gd name="connsiteY3" fmla="*/ 9414 h 10000"/>
              <a:gd name="connsiteX4" fmla="*/ 2054 w 10000"/>
              <a:gd name="connsiteY4" fmla="*/ 10000 h 10000"/>
              <a:gd name="connsiteX5" fmla="*/ 5188 w 10000"/>
              <a:gd name="connsiteY5" fmla="*/ 10000 h 10000"/>
              <a:gd name="connsiteX6" fmla="*/ 5248 w 10000"/>
              <a:gd name="connsiteY6" fmla="*/ 9414 h 10000"/>
              <a:gd name="connsiteX7" fmla="*/ 5248 w 10000"/>
              <a:gd name="connsiteY7" fmla="*/ 4311 h 10000"/>
              <a:gd name="connsiteX8" fmla="*/ 5307 w 10000"/>
              <a:gd name="connsiteY8" fmla="*/ 3724 h 10000"/>
              <a:gd name="connsiteX9" fmla="*/ 8627 w 10000"/>
              <a:gd name="connsiteY9" fmla="*/ 3724 h 10000"/>
              <a:gd name="connsiteX10" fmla="*/ 8685 w 10000"/>
              <a:gd name="connsiteY10" fmla="*/ 4311 h 10000"/>
              <a:gd name="connsiteX11" fmla="*/ 8685 w 10000"/>
              <a:gd name="connsiteY11" fmla="*/ 6297 h 10000"/>
              <a:gd name="connsiteX12" fmla="*/ 8740 w 10000"/>
              <a:gd name="connsiteY12" fmla="*/ 6883 h 10000"/>
              <a:gd name="connsiteX13" fmla="*/ 9942 w 10000"/>
              <a:gd name="connsiteY13" fmla="*/ 6883 h 10000"/>
              <a:gd name="connsiteX14" fmla="*/ 10000 w 10000"/>
              <a:gd name="connsiteY14" fmla="*/ 6297 h 10000"/>
              <a:gd name="connsiteX0" fmla="*/ 0 w 8803"/>
              <a:gd name="connsiteY0" fmla="*/ 40 h 10113"/>
              <a:gd name="connsiteX1" fmla="*/ 740 w 8803"/>
              <a:gd name="connsiteY1" fmla="*/ 113 h 10113"/>
              <a:gd name="connsiteX2" fmla="*/ 798 w 8803"/>
              <a:gd name="connsiteY2" fmla="*/ 699 h 10113"/>
              <a:gd name="connsiteX3" fmla="*/ 798 w 8803"/>
              <a:gd name="connsiteY3" fmla="*/ 9527 h 10113"/>
              <a:gd name="connsiteX4" fmla="*/ 857 w 8803"/>
              <a:gd name="connsiteY4" fmla="*/ 10113 h 10113"/>
              <a:gd name="connsiteX5" fmla="*/ 3991 w 8803"/>
              <a:gd name="connsiteY5" fmla="*/ 10113 h 10113"/>
              <a:gd name="connsiteX6" fmla="*/ 4051 w 8803"/>
              <a:gd name="connsiteY6" fmla="*/ 9527 h 10113"/>
              <a:gd name="connsiteX7" fmla="*/ 4051 w 8803"/>
              <a:gd name="connsiteY7" fmla="*/ 4424 h 10113"/>
              <a:gd name="connsiteX8" fmla="*/ 4110 w 8803"/>
              <a:gd name="connsiteY8" fmla="*/ 3837 h 10113"/>
              <a:gd name="connsiteX9" fmla="*/ 7430 w 8803"/>
              <a:gd name="connsiteY9" fmla="*/ 3837 h 10113"/>
              <a:gd name="connsiteX10" fmla="*/ 7488 w 8803"/>
              <a:gd name="connsiteY10" fmla="*/ 4424 h 10113"/>
              <a:gd name="connsiteX11" fmla="*/ 7488 w 8803"/>
              <a:gd name="connsiteY11" fmla="*/ 6410 h 10113"/>
              <a:gd name="connsiteX12" fmla="*/ 7543 w 8803"/>
              <a:gd name="connsiteY12" fmla="*/ 6996 h 10113"/>
              <a:gd name="connsiteX13" fmla="*/ 8745 w 8803"/>
              <a:gd name="connsiteY13" fmla="*/ 6996 h 10113"/>
              <a:gd name="connsiteX14" fmla="*/ 8803 w 8803"/>
              <a:gd name="connsiteY14" fmla="*/ 6410 h 10113"/>
              <a:gd name="connsiteX0" fmla="*/ 0 w 10000"/>
              <a:gd name="connsiteY0" fmla="*/ 75 h 9905"/>
              <a:gd name="connsiteX1" fmla="*/ 841 w 10000"/>
              <a:gd name="connsiteY1" fmla="*/ 17 h 9905"/>
              <a:gd name="connsiteX2" fmla="*/ 907 w 10000"/>
              <a:gd name="connsiteY2" fmla="*/ 596 h 9905"/>
              <a:gd name="connsiteX3" fmla="*/ 907 w 10000"/>
              <a:gd name="connsiteY3" fmla="*/ 9326 h 9905"/>
              <a:gd name="connsiteX4" fmla="*/ 974 w 10000"/>
              <a:gd name="connsiteY4" fmla="*/ 9905 h 9905"/>
              <a:gd name="connsiteX5" fmla="*/ 4534 w 10000"/>
              <a:gd name="connsiteY5" fmla="*/ 9905 h 9905"/>
              <a:gd name="connsiteX6" fmla="*/ 4602 w 10000"/>
              <a:gd name="connsiteY6" fmla="*/ 9326 h 9905"/>
              <a:gd name="connsiteX7" fmla="*/ 4602 w 10000"/>
              <a:gd name="connsiteY7" fmla="*/ 4280 h 9905"/>
              <a:gd name="connsiteX8" fmla="*/ 4669 w 10000"/>
              <a:gd name="connsiteY8" fmla="*/ 3699 h 9905"/>
              <a:gd name="connsiteX9" fmla="*/ 8440 w 10000"/>
              <a:gd name="connsiteY9" fmla="*/ 3699 h 9905"/>
              <a:gd name="connsiteX10" fmla="*/ 8506 w 10000"/>
              <a:gd name="connsiteY10" fmla="*/ 4280 h 9905"/>
              <a:gd name="connsiteX11" fmla="*/ 8506 w 10000"/>
              <a:gd name="connsiteY11" fmla="*/ 6243 h 9905"/>
              <a:gd name="connsiteX12" fmla="*/ 8569 w 10000"/>
              <a:gd name="connsiteY12" fmla="*/ 6823 h 9905"/>
              <a:gd name="connsiteX13" fmla="*/ 9934 w 10000"/>
              <a:gd name="connsiteY13" fmla="*/ 6823 h 9905"/>
              <a:gd name="connsiteX14" fmla="*/ 10000 w 10000"/>
              <a:gd name="connsiteY14" fmla="*/ 6243 h 9905"/>
              <a:gd name="connsiteX0" fmla="*/ 0 w 10000"/>
              <a:gd name="connsiteY0" fmla="*/ 59 h 9983"/>
              <a:gd name="connsiteX1" fmla="*/ 841 w 10000"/>
              <a:gd name="connsiteY1" fmla="*/ 0 h 9983"/>
              <a:gd name="connsiteX2" fmla="*/ 907 w 10000"/>
              <a:gd name="connsiteY2" fmla="*/ 585 h 9983"/>
              <a:gd name="connsiteX3" fmla="*/ 907 w 10000"/>
              <a:gd name="connsiteY3" fmla="*/ 9398 h 9983"/>
              <a:gd name="connsiteX4" fmla="*/ 974 w 10000"/>
              <a:gd name="connsiteY4" fmla="*/ 9983 h 9983"/>
              <a:gd name="connsiteX5" fmla="*/ 4534 w 10000"/>
              <a:gd name="connsiteY5" fmla="*/ 9983 h 9983"/>
              <a:gd name="connsiteX6" fmla="*/ 4602 w 10000"/>
              <a:gd name="connsiteY6" fmla="*/ 9398 h 9983"/>
              <a:gd name="connsiteX7" fmla="*/ 4602 w 10000"/>
              <a:gd name="connsiteY7" fmla="*/ 4304 h 9983"/>
              <a:gd name="connsiteX8" fmla="*/ 4669 w 10000"/>
              <a:gd name="connsiteY8" fmla="*/ 3717 h 9983"/>
              <a:gd name="connsiteX9" fmla="*/ 8440 w 10000"/>
              <a:gd name="connsiteY9" fmla="*/ 3717 h 9983"/>
              <a:gd name="connsiteX10" fmla="*/ 8506 w 10000"/>
              <a:gd name="connsiteY10" fmla="*/ 4304 h 9983"/>
              <a:gd name="connsiteX11" fmla="*/ 8506 w 10000"/>
              <a:gd name="connsiteY11" fmla="*/ 6286 h 9983"/>
              <a:gd name="connsiteX12" fmla="*/ 8569 w 10000"/>
              <a:gd name="connsiteY12" fmla="*/ 6871 h 9983"/>
              <a:gd name="connsiteX13" fmla="*/ 9934 w 10000"/>
              <a:gd name="connsiteY13" fmla="*/ 6871 h 9983"/>
              <a:gd name="connsiteX14" fmla="*/ 10000 w 10000"/>
              <a:gd name="connsiteY14" fmla="*/ 6286 h 9983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59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0 h 10029"/>
              <a:gd name="connsiteX1" fmla="*/ 844 w 10003"/>
              <a:gd name="connsiteY1" fmla="*/ 29 h 10029"/>
              <a:gd name="connsiteX2" fmla="*/ 910 w 10003"/>
              <a:gd name="connsiteY2" fmla="*/ 615 h 10029"/>
              <a:gd name="connsiteX3" fmla="*/ 910 w 10003"/>
              <a:gd name="connsiteY3" fmla="*/ 9443 h 10029"/>
              <a:gd name="connsiteX4" fmla="*/ 977 w 10003"/>
              <a:gd name="connsiteY4" fmla="*/ 10029 h 10029"/>
              <a:gd name="connsiteX5" fmla="*/ 4537 w 10003"/>
              <a:gd name="connsiteY5" fmla="*/ 10029 h 10029"/>
              <a:gd name="connsiteX6" fmla="*/ 4605 w 10003"/>
              <a:gd name="connsiteY6" fmla="*/ 9443 h 10029"/>
              <a:gd name="connsiteX7" fmla="*/ 4605 w 10003"/>
              <a:gd name="connsiteY7" fmla="*/ 4340 h 10029"/>
              <a:gd name="connsiteX8" fmla="*/ 4672 w 10003"/>
              <a:gd name="connsiteY8" fmla="*/ 3752 h 10029"/>
              <a:gd name="connsiteX9" fmla="*/ 8443 w 10003"/>
              <a:gd name="connsiteY9" fmla="*/ 3752 h 10029"/>
              <a:gd name="connsiteX10" fmla="*/ 8509 w 10003"/>
              <a:gd name="connsiteY10" fmla="*/ 4340 h 10029"/>
              <a:gd name="connsiteX11" fmla="*/ 8509 w 10003"/>
              <a:gd name="connsiteY11" fmla="*/ 6326 h 10029"/>
              <a:gd name="connsiteX12" fmla="*/ 8572 w 10003"/>
              <a:gd name="connsiteY12" fmla="*/ 6912 h 10029"/>
              <a:gd name="connsiteX13" fmla="*/ 9937 w 10003"/>
              <a:gd name="connsiteY13" fmla="*/ 6912 h 10029"/>
              <a:gd name="connsiteX14" fmla="*/ 10003 w 10003"/>
              <a:gd name="connsiteY14" fmla="*/ 6326 h 10029"/>
              <a:gd name="connsiteX0" fmla="*/ 0 w 10003"/>
              <a:gd name="connsiteY0" fmla="*/ 30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9937 w 10003"/>
              <a:gd name="connsiteY13" fmla="*/ 6883 h 10000"/>
              <a:gd name="connsiteX14" fmla="*/ 10003 w 10003"/>
              <a:gd name="connsiteY14" fmla="*/ 6297 h 10000"/>
              <a:gd name="connsiteX0" fmla="*/ 0 w 10003"/>
              <a:gd name="connsiteY0" fmla="*/ 1 h 10000"/>
              <a:gd name="connsiteX1" fmla="*/ 844 w 10003"/>
              <a:gd name="connsiteY1" fmla="*/ 0 h 10000"/>
              <a:gd name="connsiteX2" fmla="*/ 910 w 10003"/>
              <a:gd name="connsiteY2" fmla="*/ 586 h 10000"/>
              <a:gd name="connsiteX3" fmla="*/ 910 w 10003"/>
              <a:gd name="connsiteY3" fmla="*/ 9414 h 10000"/>
              <a:gd name="connsiteX4" fmla="*/ 977 w 10003"/>
              <a:gd name="connsiteY4" fmla="*/ 10000 h 10000"/>
              <a:gd name="connsiteX5" fmla="*/ 4537 w 10003"/>
              <a:gd name="connsiteY5" fmla="*/ 10000 h 10000"/>
              <a:gd name="connsiteX6" fmla="*/ 4605 w 10003"/>
              <a:gd name="connsiteY6" fmla="*/ 9414 h 10000"/>
              <a:gd name="connsiteX7" fmla="*/ 4605 w 10003"/>
              <a:gd name="connsiteY7" fmla="*/ 4311 h 10000"/>
              <a:gd name="connsiteX8" fmla="*/ 4672 w 10003"/>
              <a:gd name="connsiteY8" fmla="*/ 3723 h 10000"/>
              <a:gd name="connsiteX9" fmla="*/ 8443 w 10003"/>
              <a:gd name="connsiteY9" fmla="*/ 3723 h 10000"/>
              <a:gd name="connsiteX10" fmla="*/ 8509 w 10003"/>
              <a:gd name="connsiteY10" fmla="*/ 4311 h 10000"/>
              <a:gd name="connsiteX11" fmla="*/ 8509 w 10003"/>
              <a:gd name="connsiteY11" fmla="*/ 6297 h 10000"/>
              <a:gd name="connsiteX12" fmla="*/ 8572 w 10003"/>
              <a:gd name="connsiteY12" fmla="*/ 6883 h 10000"/>
              <a:gd name="connsiteX13" fmla="*/ 10003 w 10003"/>
              <a:gd name="connsiteY13" fmla="*/ 6297 h 10000"/>
              <a:gd name="connsiteX0" fmla="*/ 0 w 9498"/>
              <a:gd name="connsiteY0" fmla="*/ 1 h 10000"/>
              <a:gd name="connsiteX1" fmla="*/ 844 w 9498"/>
              <a:gd name="connsiteY1" fmla="*/ 0 h 10000"/>
              <a:gd name="connsiteX2" fmla="*/ 910 w 9498"/>
              <a:gd name="connsiteY2" fmla="*/ 586 h 10000"/>
              <a:gd name="connsiteX3" fmla="*/ 910 w 9498"/>
              <a:gd name="connsiteY3" fmla="*/ 9414 h 10000"/>
              <a:gd name="connsiteX4" fmla="*/ 977 w 9498"/>
              <a:gd name="connsiteY4" fmla="*/ 10000 h 10000"/>
              <a:gd name="connsiteX5" fmla="*/ 4537 w 9498"/>
              <a:gd name="connsiteY5" fmla="*/ 10000 h 10000"/>
              <a:gd name="connsiteX6" fmla="*/ 4605 w 9498"/>
              <a:gd name="connsiteY6" fmla="*/ 9414 h 10000"/>
              <a:gd name="connsiteX7" fmla="*/ 4605 w 9498"/>
              <a:gd name="connsiteY7" fmla="*/ 4311 h 10000"/>
              <a:gd name="connsiteX8" fmla="*/ 4672 w 9498"/>
              <a:gd name="connsiteY8" fmla="*/ 3723 h 10000"/>
              <a:gd name="connsiteX9" fmla="*/ 8443 w 9498"/>
              <a:gd name="connsiteY9" fmla="*/ 3723 h 10000"/>
              <a:gd name="connsiteX10" fmla="*/ 8509 w 9498"/>
              <a:gd name="connsiteY10" fmla="*/ 4311 h 10000"/>
              <a:gd name="connsiteX11" fmla="*/ 8509 w 9498"/>
              <a:gd name="connsiteY11" fmla="*/ 6297 h 10000"/>
              <a:gd name="connsiteX12" fmla="*/ 8572 w 9498"/>
              <a:gd name="connsiteY12" fmla="*/ 6883 h 10000"/>
              <a:gd name="connsiteX13" fmla="*/ 9498 w 9498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22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6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9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49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1 w 10000"/>
              <a:gd name="connsiteY12" fmla="*/ 6861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883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05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29 w 10000"/>
              <a:gd name="connsiteY4" fmla="*/ 10000 h 10000"/>
              <a:gd name="connsiteX5" fmla="*/ 4777 w 10000"/>
              <a:gd name="connsiteY5" fmla="*/ 10000 h 10000"/>
              <a:gd name="connsiteX6" fmla="*/ 4848 w 10000"/>
              <a:gd name="connsiteY6" fmla="*/ 9414 h 10000"/>
              <a:gd name="connsiteX7" fmla="*/ 4848 w 10000"/>
              <a:gd name="connsiteY7" fmla="*/ 4311 h 10000"/>
              <a:gd name="connsiteX8" fmla="*/ 4919 w 10000"/>
              <a:gd name="connsiteY8" fmla="*/ 3723 h 10000"/>
              <a:gd name="connsiteX9" fmla="*/ 8889 w 10000"/>
              <a:gd name="connsiteY9" fmla="*/ 3723 h 10000"/>
              <a:gd name="connsiteX10" fmla="*/ 8959 w 10000"/>
              <a:gd name="connsiteY10" fmla="*/ 4311 h 10000"/>
              <a:gd name="connsiteX11" fmla="*/ 8959 w 10000"/>
              <a:gd name="connsiteY11" fmla="*/ 6297 h 10000"/>
              <a:gd name="connsiteX12" fmla="*/ 9014 w 10000"/>
              <a:gd name="connsiteY12" fmla="*/ 6927 h 10000"/>
              <a:gd name="connsiteX13" fmla="*/ 10000 w 10000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29"/>
              <a:gd name="connsiteY0" fmla="*/ 1 h 10000"/>
              <a:gd name="connsiteX1" fmla="*/ 889 w 10029"/>
              <a:gd name="connsiteY1" fmla="*/ 0 h 10000"/>
              <a:gd name="connsiteX2" fmla="*/ 958 w 10029"/>
              <a:gd name="connsiteY2" fmla="*/ 586 h 10000"/>
              <a:gd name="connsiteX3" fmla="*/ 958 w 10029"/>
              <a:gd name="connsiteY3" fmla="*/ 9414 h 10000"/>
              <a:gd name="connsiteX4" fmla="*/ 1029 w 10029"/>
              <a:gd name="connsiteY4" fmla="*/ 10000 h 10000"/>
              <a:gd name="connsiteX5" fmla="*/ 4777 w 10029"/>
              <a:gd name="connsiteY5" fmla="*/ 10000 h 10000"/>
              <a:gd name="connsiteX6" fmla="*/ 4848 w 10029"/>
              <a:gd name="connsiteY6" fmla="*/ 9414 h 10000"/>
              <a:gd name="connsiteX7" fmla="*/ 4848 w 10029"/>
              <a:gd name="connsiteY7" fmla="*/ 4311 h 10000"/>
              <a:gd name="connsiteX8" fmla="*/ 4919 w 10029"/>
              <a:gd name="connsiteY8" fmla="*/ 3723 h 10000"/>
              <a:gd name="connsiteX9" fmla="*/ 8889 w 10029"/>
              <a:gd name="connsiteY9" fmla="*/ 3723 h 10000"/>
              <a:gd name="connsiteX10" fmla="*/ 8959 w 10029"/>
              <a:gd name="connsiteY10" fmla="*/ 4311 h 10000"/>
              <a:gd name="connsiteX11" fmla="*/ 8959 w 10029"/>
              <a:gd name="connsiteY11" fmla="*/ 6297 h 10000"/>
              <a:gd name="connsiteX12" fmla="*/ 9014 w 10029"/>
              <a:gd name="connsiteY12" fmla="*/ 6927 h 10000"/>
              <a:gd name="connsiteX13" fmla="*/ 10029 w 10029"/>
              <a:gd name="connsiteY13" fmla="*/ 6912 h 10000"/>
              <a:gd name="connsiteX0" fmla="*/ 0 w 10063"/>
              <a:gd name="connsiteY0" fmla="*/ 1 h 10000"/>
              <a:gd name="connsiteX1" fmla="*/ 889 w 10063"/>
              <a:gd name="connsiteY1" fmla="*/ 0 h 10000"/>
              <a:gd name="connsiteX2" fmla="*/ 958 w 10063"/>
              <a:gd name="connsiteY2" fmla="*/ 586 h 10000"/>
              <a:gd name="connsiteX3" fmla="*/ 958 w 10063"/>
              <a:gd name="connsiteY3" fmla="*/ 9414 h 10000"/>
              <a:gd name="connsiteX4" fmla="*/ 1029 w 10063"/>
              <a:gd name="connsiteY4" fmla="*/ 10000 h 10000"/>
              <a:gd name="connsiteX5" fmla="*/ 4777 w 10063"/>
              <a:gd name="connsiteY5" fmla="*/ 10000 h 10000"/>
              <a:gd name="connsiteX6" fmla="*/ 4848 w 10063"/>
              <a:gd name="connsiteY6" fmla="*/ 9414 h 10000"/>
              <a:gd name="connsiteX7" fmla="*/ 4848 w 10063"/>
              <a:gd name="connsiteY7" fmla="*/ 4311 h 10000"/>
              <a:gd name="connsiteX8" fmla="*/ 4919 w 10063"/>
              <a:gd name="connsiteY8" fmla="*/ 3723 h 10000"/>
              <a:gd name="connsiteX9" fmla="*/ 8889 w 10063"/>
              <a:gd name="connsiteY9" fmla="*/ 3723 h 10000"/>
              <a:gd name="connsiteX10" fmla="*/ 8959 w 10063"/>
              <a:gd name="connsiteY10" fmla="*/ 4311 h 10000"/>
              <a:gd name="connsiteX11" fmla="*/ 8959 w 10063"/>
              <a:gd name="connsiteY11" fmla="*/ 6297 h 10000"/>
              <a:gd name="connsiteX12" fmla="*/ 9014 w 10063"/>
              <a:gd name="connsiteY12" fmla="*/ 6927 h 10000"/>
              <a:gd name="connsiteX13" fmla="*/ 10063 w 10063"/>
              <a:gd name="connsiteY13" fmla="*/ 6912 h 10000"/>
              <a:gd name="connsiteX0" fmla="*/ 0 w 9995"/>
              <a:gd name="connsiteY0" fmla="*/ 1 h 10000"/>
              <a:gd name="connsiteX1" fmla="*/ 889 w 9995"/>
              <a:gd name="connsiteY1" fmla="*/ 0 h 10000"/>
              <a:gd name="connsiteX2" fmla="*/ 958 w 9995"/>
              <a:gd name="connsiteY2" fmla="*/ 586 h 10000"/>
              <a:gd name="connsiteX3" fmla="*/ 958 w 9995"/>
              <a:gd name="connsiteY3" fmla="*/ 9414 h 10000"/>
              <a:gd name="connsiteX4" fmla="*/ 1029 w 9995"/>
              <a:gd name="connsiteY4" fmla="*/ 10000 h 10000"/>
              <a:gd name="connsiteX5" fmla="*/ 4777 w 9995"/>
              <a:gd name="connsiteY5" fmla="*/ 10000 h 10000"/>
              <a:gd name="connsiteX6" fmla="*/ 4848 w 9995"/>
              <a:gd name="connsiteY6" fmla="*/ 9414 h 10000"/>
              <a:gd name="connsiteX7" fmla="*/ 4848 w 9995"/>
              <a:gd name="connsiteY7" fmla="*/ 4311 h 10000"/>
              <a:gd name="connsiteX8" fmla="*/ 4919 w 9995"/>
              <a:gd name="connsiteY8" fmla="*/ 3723 h 10000"/>
              <a:gd name="connsiteX9" fmla="*/ 8889 w 9995"/>
              <a:gd name="connsiteY9" fmla="*/ 3723 h 10000"/>
              <a:gd name="connsiteX10" fmla="*/ 8959 w 9995"/>
              <a:gd name="connsiteY10" fmla="*/ 4311 h 10000"/>
              <a:gd name="connsiteX11" fmla="*/ 8959 w 9995"/>
              <a:gd name="connsiteY11" fmla="*/ 6297 h 10000"/>
              <a:gd name="connsiteX12" fmla="*/ 9014 w 9995"/>
              <a:gd name="connsiteY12" fmla="*/ 6927 h 10000"/>
              <a:gd name="connsiteX13" fmla="*/ 9995 w 9995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12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78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19 w 10000"/>
              <a:gd name="connsiteY12" fmla="*/ 6927 h 10000"/>
              <a:gd name="connsiteX13" fmla="*/ 10000 w 10000"/>
              <a:gd name="connsiteY13" fmla="*/ 6934 h 10000"/>
              <a:gd name="connsiteX0" fmla="*/ 0 w 10000"/>
              <a:gd name="connsiteY0" fmla="*/ 1 h 10000"/>
              <a:gd name="connsiteX1" fmla="*/ 889 w 10000"/>
              <a:gd name="connsiteY1" fmla="*/ 0 h 10000"/>
              <a:gd name="connsiteX2" fmla="*/ 958 w 10000"/>
              <a:gd name="connsiteY2" fmla="*/ 586 h 10000"/>
              <a:gd name="connsiteX3" fmla="*/ 958 w 10000"/>
              <a:gd name="connsiteY3" fmla="*/ 9414 h 10000"/>
              <a:gd name="connsiteX4" fmla="*/ 1030 w 10000"/>
              <a:gd name="connsiteY4" fmla="*/ 10000 h 10000"/>
              <a:gd name="connsiteX5" fmla="*/ 4779 w 10000"/>
              <a:gd name="connsiteY5" fmla="*/ 10000 h 10000"/>
              <a:gd name="connsiteX6" fmla="*/ 4850 w 10000"/>
              <a:gd name="connsiteY6" fmla="*/ 9414 h 10000"/>
              <a:gd name="connsiteX7" fmla="*/ 4850 w 10000"/>
              <a:gd name="connsiteY7" fmla="*/ 4311 h 10000"/>
              <a:gd name="connsiteX8" fmla="*/ 4921 w 10000"/>
              <a:gd name="connsiteY8" fmla="*/ 3723 h 10000"/>
              <a:gd name="connsiteX9" fmla="*/ 8893 w 10000"/>
              <a:gd name="connsiteY9" fmla="*/ 3723 h 10000"/>
              <a:gd name="connsiteX10" fmla="*/ 8963 w 10000"/>
              <a:gd name="connsiteY10" fmla="*/ 4311 h 10000"/>
              <a:gd name="connsiteX11" fmla="*/ 8963 w 10000"/>
              <a:gd name="connsiteY11" fmla="*/ 6297 h 10000"/>
              <a:gd name="connsiteX12" fmla="*/ 9022 w 10000"/>
              <a:gd name="connsiteY12" fmla="*/ 6949 h 10000"/>
              <a:gd name="connsiteX13" fmla="*/ 10000 w 10000"/>
              <a:gd name="connsiteY13" fmla="*/ 6934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49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07"/>
              <a:gd name="connsiteY0" fmla="*/ 1 h 10000"/>
              <a:gd name="connsiteX1" fmla="*/ 889 w 10007"/>
              <a:gd name="connsiteY1" fmla="*/ 0 h 10000"/>
              <a:gd name="connsiteX2" fmla="*/ 958 w 10007"/>
              <a:gd name="connsiteY2" fmla="*/ 586 h 10000"/>
              <a:gd name="connsiteX3" fmla="*/ 958 w 10007"/>
              <a:gd name="connsiteY3" fmla="*/ 9414 h 10000"/>
              <a:gd name="connsiteX4" fmla="*/ 1030 w 10007"/>
              <a:gd name="connsiteY4" fmla="*/ 10000 h 10000"/>
              <a:gd name="connsiteX5" fmla="*/ 4779 w 10007"/>
              <a:gd name="connsiteY5" fmla="*/ 10000 h 10000"/>
              <a:gd name="connsiteX6" fmla="*/ 4850 w 10007"/>
              <a:gd name="connsiteY6" fmla="*/ 9414 h 10000"/>
              <a:gd name="connsiteX7" fmla="*/ 4850 w 10007"/>
              <a:gd name="connsiteY7" fmla="*/ 4311 h 10000"/>
              <a:gd name="connsiteX8" fmla="*/ 4921 w 10007"/>
              <a:gd name="connsiteY8" fmla="*/ 3723 h 10000"/>
              <a:gd name="connsiteX9" fmla="*/ 8893 w 10007"/>
              <a:gd name="connsiteY9" fmla="*/ 3723 h 10000"/>
              <a:gd name="connsiteX10" fmla="*/ 8963 w 10007"/>
              <a:gd name="connsiteY10" fmla="*/ 4311 h 10000"/>
              <a:gd name="connsiteX11" fmla="*/ 8963 w 10007"/>
              <a:gd name="connsiteY11" fmla="*/ 6297 h 10000"/>
              <a:gd name="connsiteX12" fmla="*/ 9022 w 10007"/>
              <a:gd name="connsiteY12" fmla="*/ 6971 h 10000"/>
              <a:gd name="connsiteX13" fmla="*/ 10007 w 10007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6956 h 10000"/>
              <a:gd name="connsiteX0" fmla="*/ 0 w 10010"/>
              <a:gd name="connsiteY0" fmla="*/ 1 h 10000"/>
              <a:gd name="connsiteX1" fmla="*/ 889 w 10010"/>
              <a:gd name="connsiteY1" fmla="*/ 0 h 10000"/>
              <a:gd name="connsiteX2" fmla="*/ 958 w 10010"/>
              <a:gd name="connsiteY2" fmla="*/ 586 h 10000"/>
              <a:gd name="connsiteX3" fmla="*/ 958 w 10010"/>
              <a:gd name="connsiteY3" fmla="*/ 9414 h 10000"/>
              <a:gd name="connsiteX4" fmla="*/ 1030 w 10010"/>
              <a:gd name="connsiteY4" fmla="*/ 10000 h 10000"/>
              <a:gd name="connsiteX5" fmla="*/ 4779 w 10010"/>
              <a:gd name="connsiteY5" fmla="*/ 10000 h 10000"/>
              <a:gd name="connsiteX6" fmla="*/ 4850 w 10010"/>
              <a:gd name="connsiteY6" fmla="*/ 9414 h 10000"/>
              <a:gd name="connsiteX7" fmla="*/ 4850 w 10010"/>
              <a:gd name="connsiteY7" fmla="*/ 4311 h 10000"/>
              <a:gd name="connsiteX8" fmla="*/ 4921 w 10010"/>
              <a:gd name="connsiteY8" fmla="*/ 3723 h 10000"/>
              <a:gd name="connsiteX9" fmla="*/ 8893 w 10010"/>
              <a:gd name="connsiteY9" fmla="*/ 3723 h 10000"/>
              <a:gd name="connsiteX10" fmla="*/ 8963 w 10010"/>
              <a:gd name="connsiteY10" fmla="*/ 4311 h 10000"/>
              <a:gd name="connsiteX11" fmla="*/ 8963 w 10010"/>
              <a:gd name="connsiteY11" fmla="*/ 6297 h 10000"/>
              <a:gd name="connsiteX12" fmla="*/ 9022 w 10010"/>
              <a:gd name="connsiteY12" fmla="*/ 6971 h 10000"/>
              <a:gd name="connsiteX13" fmla="*/ 10010 w 10010"/>
              <a:gd name="connsiteY13" fmla="*/ 7000 h 10000"/>
              <a:gd name="connsiteX0" fmla="*/ 0 w 10013"/>
              <a:gd name="connsiteY0" fmla="*/ 1 h 10000"/>
              <a:gd name="connsiteX1" fmla="*/ 889 w 10013"/>
              <a:gd name="connsiteY1" fmla="*/ 0 h 10000"/>
              <a:gd name="connsiteX2" fmla="*/ 958 w 10013"/>
              <a:gd name="connsiteY2" fmla="*/ 586 h 10000"/>
              <a:gd name="connsiteX3" fmla="*/ 958 w 10013"/>
              <a:gd name="connsiteY3" fmla="*/ 9414 h 10000"/>
              <a:gd name="connsiteX4" fmla="*/ 1030 w 10013"/>
              <a:gd name="connsiteY4" fmla="*/ 10000 h 10000"/>
              <a:gd name="connsiteX5" fmla="*/ 4779 w 10013"/>
              <a:gd name="connsiteY5" fmla="*/ 10000 h 10000"/>
              <a:gd name="connsiteX6" fmla="*/ 4850 w 10013"/>
              <a:gd name="connsiteY6" fmla="*/ 9414 h 10000"/>
              <a:gd name="connsiteX7" fmla="*/ 4850 w 10013"/>
              <a:gd name="connsiteY7" fmla="*/ 4311 h 10000"/>
              <a:gd name="connsiteX8" fmla="*/ 4921 w 10013"/>
              <a:gd name="connsiteY8" fmla="*/ 3723 h 10000"/>
              <a:gd name="connsiteX9" fmla="*/ 8893 w 10013"/>
              <a:gd name="connsiteY9" fmla="*/ 3723 h 10000"/>
              <a:gd name="connsiteX10" fmla="*/ 8963 w 10013"/>
              <a:gd name="connsiteY10" fmla="*/ 4311 h 10000"/>
              <a:gd name="connsiteX11" fmla="*/ 8963 w 10013"/>
              <a:gd name="connsiteY11" fmla="*/ 6297 h 10000"/>
              <a:gd name="connsiteX12" fmla="*/ 9022 w 10013"/>
              <a:gd name="connsiteY12" fmla="*/ 6971 h 10000"/>
              <a:gd name="connsiteX13" fmla="*/ 10013 w 10013"/>
              <a:gd name="connsiteY13" fmla="*/ 6956 h 10000"/>
              <a:gd name="connsiteX0" fmla="*/ 0 w 10081"/>
              <a:gd name="connsiteY0" fmla="*/ 1 h 10000"/>
              <a:gd name="connsiteX1" fmla="*/ 889 w 10081"/>
              <a:gd name="connsiteY1" fmla="*/ 0 h 10000"/>
              <a:gd name="connsiteX2" fmla="*/ 958 w 10081"/>
              <a:gd name="connsiteY2" fmla="*/ 586 h 10000"/>
              <a:gd name="connsiteX3" fmla="*/ 958 w 10081"/>
              <a:gd name="connsiteY3" fmla="*/ 9414 h 10000"/>
              <a:gd name="connsiteX4" fmla="*/ 1030 w 10081"/>
              <a:gd name="connsiteY4" fmla="*/ 10000 h 10000"/>
              <a:gd name="connsiteX5" fmla="*/ 4779 w 10081"/>
              <a:gd name="connsiteY5" fmla="*/ 10000 h 10000"/>
              <a:gd name="connsiteX6" fmla="*/ 4850 w 10081"/>
              <a:gd name="connsiteY6" fmla="*/ 9414 h 10000"/>
              <a:gd name="connsiteX7" fmla="*/ 4850 w 10081"/>
              <a:gd name="connsiteY7" fmla="*/ 4311 h 10000"/>
              <a:gd name="connsiteX8" fmla="*/ 4921 w 10081"/>
              <a:gd name="connsiteY8" fmla="*/ 3723 h 10000"/>
              <a:gd name="connsiteX9" fmla="*/ 8893 w 10081"/>
              <a:gd name="connsiteY9" fmla="*/ 3723 h 10000"/>
              <a:gd name="connsiteX10" fmla="*/ 8963 w 10081"/>
              <a:gd name="connsiteY10" fmla="*/ 4311 h 10000"/>
              <a:gd name="connsiteX11" fmla="*/ 8963 w 10081"/>
              <a:gd name="connsiteY11" fmla="*/ 6297 h 10000"/>
              <a:gd name="connsiteX12" fmla="*/ 9022 w 10081"/>
              <a:gd name="connsiteY12" fmla="*/ 6971 h 10000"/>
              <a:gd name="connsiteX13" fmla="*/ 10081 w 10081"/>
              <a:gd name="connsiteY13" fmla="*/ 6978 h 10000"/>
              <a:gd name="connsiteX0" fmla="*/ 0 w 10089"/>
              <a:gd name="connsiteY0" fmla="*/ 1 h 10000"/>
              <a:gd name="connsiteX1" fmla="*/ 889 w 10089"/>
              <a:gd name="connsiteY1" fmla="*/ 0 h 10000"/>
              <a:gd name="connsiteX2" fmla="*/ 958 w 10089"/>
              <a:gd name="connsiteY2" fmla="*/ 586 h 10000"/>
              <a:gd name="connsiteX3" fmla="*/ 958 w 10089"/>
              <a:gd name="connsiteY3" fmla="*/ 9414 h 10000"/>
              <a:gd name="connsiteX4" fmla="*/ 1030 w 10089"/>
              <a:gd name="connsiteY4" fmla="*/ 10000 h 10000"/>
              <a:gd name="connsiteX5" fmla="*/ 4779 w 10089"/>
              <a:gd name="connsiteY5" fmla="*/ 10000 h 10000"/>
              <a:gd name="connsiteX6" fmla="*/ 4850 w 10089"/>
              <a:gd name="connsiteY6" fmla="*/ 9414 h 10000"/>
              <a:gd name="connsiteX7" fmla="*/ 4850 w 10089"/>
              <a:gd name="connsiteY7" fmla="*/ 4311 h 10000"/>
              <a:gd name="connsiteX8" fmla="*/ 4921 w 10089"/>
              <a:gd name="connsiteY8" fmla="*/ 3723 h 10000"/>
              <a:gd name="connsiteX9" fmla="*/ 8893 w 10089"/>
              <a:gd name="connsiteY9" fmla="*/ 3723 h 10000"/>
              <a:gd name="connsiteX10" fmla="*/ 8963 w 10089"/>
              <a:gd name="connsiteY10" fmla="*/ 4311 h 10000"/>
              <a:gd name="connsiteX11" fmla="*/ 8963 w 10089"/>
              <a:gd name="connsiteY11" fmla="*/ 6297 h 10000"/>
              <a:gd name="connsiteX12" fmla="*/ 9022 w 10089"/>
              <a:gd name="connsiteY12" fmla="*/ 6971 h 10000"/>
              <a:gd name="connsiteX13" fmla="*/ 10089 w 10089"/>
              <a:gd name="connsiteY13" fmla="*/ 6956 h 10000"/>
              <a:gd name="connsiteX0" fmla="*/ 0 w 10092"/>
              <a:gd name="connsiteY0" fmla="*/ 1 h 10000"/>
              <a:gd name="connsiteX1" fmla="*/ 889 w 10092"/>
              <a:gd name="connsiteY1" fmla="*/ 0 h 10000"/>
              <a:gd name="connsiteX2" fmla="*/ 958 w 10092"/>
              <a:gd name="connsiteY2" fmla="*/ 586 h 10000"/>
              <a:gd name="connsiteX3" fmla="*/ 958 w 10092"/>
              <a:gd name="connsiteY3" fmla="*/ 9414 h 10000"/>
              <a:gd name="connsiteX4" fmla="*/ 1030 w 10092"/>
              <a:gd name="connsiteY4" fmla="*/ 10000 h 10000"/>
              <a:gd name="connsiteX5" fmla="*/ 4779 w 10092"/>
              <a:gd name="connsiteY5" fmla="*/ 10000 h 10000"/>
              <a:gd name="connsiteX6" fmla="*/ 4850 w 10092"/>
              <a:gd name="connsiteY6" fmla="*/ 9414 h 10000"/>
              <a:gd name="connsiteX7" fmla="*/ 4850 w 10092"/>
              <a:gd name="connsiteY7" fmla="*/ 4311 h 10000"/>
              <a:gd name="connsiteX8" fmla="*/ 4921 w 10092"/>
              <a:gd name="connsiteY8" fmla="*/ 3723 h 10000"/>
              <a:gd name="connsiteX9" fmla="*/ 8893 w 10092"/>
              <a:gd name="connsiteY9" fmla="*/ 3723 h 10000"/>
              <a:gd name="connsiteX10" fmla="*/ 8963 w 10092"/>
              <a:gd name="connsiteY10" fmla="*/ 4311 h 10000"/>
              <a:gd name="connsiteX11" fmla="*/ 8963 w 10092"/>
              <a:gd name="connsiteY11" fmla="*/ 6297 h 10000"/>
              <a:gd name="connsiteX12" fmla="*/ 9022 w 10092"/>
              <a:gd name="connsiteY12" fmla="*/ 6971 h 10000"/>
              <a:gd name="connsiteX13" fmla="*/ 10092 w 10092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78 h 10000"/>
              <a:gd name="connsiteX0" fmla="*/ 0 w 10095"/>
              <a:gd name="connsiteY0" fmla="*/ 1 h 10000"/>
              <a:gd name="connsiteX1" fmla="*/ 889 w 10095"/>
              <a:gd name="connsiteY1" fmla="*/ 0 h 10000"/>
              <a:gd name="connsiteX2" fmla="*/ 958 w 10095"/>
              <a:gd name="connsiteY2" fmla="*/ 586 h 10000"/>
              <a:gd name="connsiteX3" fmla="*/ 958 w 10095"/>
              <a:gd name="connsiteY3" fmla="*/ 9414 h 10000"/>
              <a:gd name="connsiteX4" fmla="*/ 1030 w 10095"/>
              <a:gd name="connsiteY4" fmla="*/ 10000 h 10000"/>
              <a:gd name="connsiteX5" fmla="*/ 4779 w 10095"/>
              <a:gd name="connsiteY5" fmla="*/ 10000 h 10000"/>
              <a:gd name="connsiteX6" fmla="*/ 4850 w 10095"/>
              <a:gd name="connsiteY6" fmla="*/ 9414 h 10000"/>
              <a:gd name="connsiteX7" fmla="*/ 4850 w 10095"/>
              <a:gd name="connsiteY7" fmla="*/ 4311 h 10000"/>
              <a:gd name="connsiteX8" fmla="*/ 4921 w 10095"/>
              <a:gd name="connsiteY8" fmla="*/ 3723 h 10000"/>
              <a:gd name="connsiteX9" fmla="*/ 8893 w 10095"/>
              <a:gd name="connsiteY9" fmla="*/ 3723 h 10000"/>
              <a:gd name="connsiteX10" fmla="*/ 8963 w 10095"/>
              <a:gd name="connsiteY10" fmla="*/ 4311 h 10000"/>
              <a:gd name="connsiteX11" fmla="*/ 8963 w 10095"/>
              <a:gd name="connsiteY11" fmla="*/ 6297 h 10000"/>
              <a:gd name="connsiteX12" fmla="*/ 9022 w 10095"/>
              <a:gd name="connsiteY12" fmla="*/ 6971 h 10000"/>
              <a:gd name="connsiteX13" fmla="*/ 10095 w 10095"/>
              <a:gd name="connsiteY13" fmla="*/ 6912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05"/>
              <a:gd name="connsiteY0" fmla="*/ 1 h 10000"/>
              <a:gd name="connsiteX1" fmla="*/ 889 w 10105"/>
              <a:gd name="connsiteY1" fmla="*/ 0 h 10000"/>
              <a:gd name="connsiteX2" fmla="*/ 958 w 10105"/>
              <a:gd name="connsiteY2" fmla="*/ 586 h 10000"/>
              <a:gd name="connsiteX3" fmla="*/ 958 w 10105"/>
              <a:gd name="connsiteY3" fmla="*/ 9414 h 10000"/>
              <a:gd name="connsiteX4" fmla="*/ 1030 w 10105"/>
              <a:gd name="connsiteY4" fmla="*/ 10000 h 10000"/>
              <a:gd name="connsiteX5" fmla="*/ 4779 w 10105"/>
              <a:gd name="connsiteY5" fmla="*/ 10000 h 10000"/>
              <a:gd name="connsiteX6" fmla="*/ 4850 w 10105"/>
              <a:gd name="connsiteY6" fmla="*/ 9414 h 10000"/>
              <a:gd name="connsiteX7" fmla="*/ 4850 w 10105"/>
              <a:gd name="connsiteY7" fmla="*/ 4311 h 10000"/>
              <a:gd name="connsiteX8" fmla="*/ 4921 w 10105"/>
              <a:gd name="connsiteY8" fmla="*/ 3723 h 10000"/>
              <a:gd name="connsiteX9" fmla="*/ 8893 w 10105"/>
              <a:gd name="connsiteY9" fmla="*/ 3723 h 10000"/>
              <a:gd name="connsiteX10" fmla="*/ 8963 w 10105"/>
              <a:gd name="connsiteY10" fmla="*/ 4311 h 10000"/>
              <a:gd name="connsiteX11" fmla="*/ 8963 w 10105"/>
              <a:gd name="connsiteY11" fmla="*/ 6297 h 10000"/>
              <a:gd name="connsiteX12" fmla="*/ 9022 w 10105"/>
              <a:gd name="connsiteY12" fmla="*/ 6971 h 10000"/>
              <a:gd name="connsiteX13" fmla="*/ 10105 w 10105"/>
              <a:gd name="connsiteY13" fmla="*/ 6978 h 10000"/>
              <a:gd name="connsiteX0" fmla="*/ 0 w 10131"/>
              <a:gd name="connsiteY0" fmla="*/ 1 h 10000"/>
              <a:gd name="connsiteX1" fmla="*/ 889 w 10131"/>
              <a:gd name="connsiteY1" fmla="*/ 0 h 10000"/>
              <a:gd name="connsiteX2" fmla="*/ 958 w 10131"/>
              <a:gd name="connsiteY2" fmla="*/ 586 h 10000"/>
              <a:gd name="connsiteX3" fmla="*/ 958 w 10131"/>
              <a:gd name="connsiteY3" fmla="*/ 9414 h 10000"/>
              <a:gd name="connsiteX4" fmla="*/ 1030 w 10131"/>
              <a:gd name="connsiteY4" fmla="*/ 10000 h 10000"/>
              <a:gd name="connsiteX5" fmla="*/ 4779 w 10131"/>
              <a:gd name="connsiteY5" fmla="*/ 10000 h 10000"/>
              <a:gd name="connsiteX6" fmla="*/ 4850 w 10131"/>
              <a:gd name="connsiteY6" fmla="*/ 9414 h 10000"/>
              <a:gd name="connsiteX7" fmla="*/ 4850 w 10131"/>
              <a:gd name="connsiteY7" fmla="*/ 4311 h 10000"/>
              <a:gd name="connsiteX8" fmla="*/ 4921 w 10131"/>
              <a:gd name="connsiteY8" fmla="*/ 3723 h 10000"/>
              <a:gd name="connsiteX9" fmla="*/ 8893 w 10131"/>
              <a:gd name="connsiteY9" fmla="*/ 3723 h 10000"/>
              <a:gd name="connsiteX10" fmla="*/ 8963 w 10131"/>
              <a:gd name="connsiteY10" fmla="*/ 4311 h 10000"/>
              <a:gd name="connsiteX11" fmla="*/ 8963 w 10131"/>
              <a:gd name="connsiteY11" fmla="*/ 6297 h 10000"/>
              <a:gd name="connsiteX12" fmla="*/ 9022 w 10131"/>
              <a:gd name="connsiteY12" fmla="*/ 6971 h 10000"/>
              <a:gd name="connsiteX13" fmla="*/ 10131 w 10131"/>
              <a:gd name="connsiteY13" fmla="*/ 6978 h 10000"/>
              <a:gd name="connsiteX0" fmla="*/ 0 w 9996"/>
              <a:gd name="connsiteY0" fmla="*/ 1 h 10000"/>
              <a:gd name="connsiteX1" fmla="*/ 889 w 9996"/>
              <a:gd name="connsiteY1" fmla="*/ 0 h 10000"/>
              <a:gd name="connsiteX2" fmla="*/ 958 w 9996"/>
              <a:gd name="connsiteY2" fmla="*/ 586 h 10000"/>
              <a:gd name="connsiteX3" fmla="*/ 958 w 9996"/>
              <a:gd name="connsiteY3" fmla="*/ 9414 h 10000"/>
              <a:gd name="connsiteX4" fmla="*/ 1030 w 9996"/>
              <a:gd name="connsiteY4" fmla="*/ 10000 h 10000"/>
              <a:gd name="connsiteX5" fmla="*/ 4779 w 9996"/>
              <a:gd name="connsiteY5" fmla="*/ 10000 h 10000"/>
              <a:gd name="connsiteX6" fmla="*/ 4850 w 9996"/>
              <a:gd name="connsiteY6" fmla="*/ 9414 h 10000"/>
              <a:gd name="connsiteX7" fmla="*/ 4850 w 9996"/>
              <a:gd name="connsiteY7" fmla="*/ 4311 h 10000"/>
              <a:gd name="connsiteX8" fmla="*/ 4921 w 9996"/>
              <a:gd name="connsiteY8" fmla="*/ 3723 h 10000"/>
              <a:gd name="connsiteX9" fmla="*/ 8893 w 9996"/>
              <a:gd name="connsiteY9" fmla="*/ 3723 h 10000"/>
              <a:gd name="connsiteX10" fmla="*/ 8963 w 9996"/>
              <a:gd name="connsiteY10" fmla="*/ 4311 h 10000"/>
              <a:gd name="connsiteX11" fmla="*/ 8963 w 9996"/>
              <a:gd name="connsiteY11" fmla="*/ 6297 h 10000"/>
              <a:gd name="connsiteX12" fmla="*/ 9022 w 9996"/>
              <a:gd name="connsiteY12" fmla="*/ 6971 h 10000"/>
              <a:gd name="connsiteX13" fmla="*/ 9996 w 9996"/>
              <a:gd name="connsiteY13" fmla="*/ 6978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9996" h="10000">
                <a:moveTo>
                  <a:pt x="0" y="1"/>
                </a:moveTo>
                <a:lnTo>
                  <a:pt x="889" y="0"/>
                </a:lnTo>
                <a:cubicBezTo>
                  <a:pt x="924" y="0"/>
                  <a:pt x="958" y="272"/>
                  <a:pt x="958" y="586"/>
                </a:cubicBezTo>
                <a:lnTo>
                  <a:pt x="958" y="9414"/>
                </a:lnTo>
                <a:cubicBezTo>
                  <a:pt x="958" y="9750"/>
                  <a:pt x="989" y="10000"/>
                  <a:pt x="1030" y="10000"/>
                </a:cubicBezTo>
                <a:lnTo>
                  <a:pt x="4779" y="10000"/>
                </a:lnTo>
                <a:cubicBezTo>
                  <a:pt x="4818" y="10000"/>
                  <a:pt x="4850" y="9750"/>
                  <a:pt x="4850" y="9414"/>
                </a:cubicBezTo>
                <a:lnTo>
                  <a:pt x="4850" y="4311"/>
                </a:lnTo>
                <a:cubicBezTo>
                  <a:pt x="4850" y="3996"/>
                  <a:pt x="4883" y="3723"/>
                  <a:pt x="4921" y="3723"/>
                </a:cubicBezTo>
                <a:lnTo>
                  <a:pt x="8893" y="3723"/>
                </a:lnTo>
                <a:cubicBezTo>
                  <a:pt x="8932" y="3723"/>
                  <a:pt x="8963" y="3996"/>
                  <a:pt x="8963" y="4311"/>
                </a:cubicBezTo>
                <a:lnTo>
                  <a:pt x="8963" y="6297"/>
                </a:lnTo>
                <a:cubicBezTo>
                  <a:pt x="8963" y="6633"/>
                  <a:pt x="8986" y="6971"/>
                  <a:pt x="9022" y="6971"/>
                </a:cubicBezTo>
                <a:cubicBezTo>
                  <a:pt x="9669" y="6959"/>
                  <a:pt x="9686" y="6968"/>
                  <a:pt x="9996" y="6978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Freeform 11"/>
          <p:cNvSpPr>
            <a:spLocks/>
          </p:cNvSpPr>
          <p:nvPr userDrawn="1"/>
        </p:nvSpPr>
        <p:spPr bwMode="gray">
          <a:xfrm>
            <a:off x="-4979" y="4336985"/>
            <a:ext cx="9147342" cy="1757619"/>
          </a:xfrm>
          <a:custGeom>
            <a:avLst/>
            <a:gdLst>
              <a:gd name="T0" fmla="*/ 0 w 8479"/>
              <a:gd name="T1" fmla="*/ 772 h 894"/>
              <a:gd name="T2" fmla="*/ 1132 w 8479"/>
              <a:gd name="T3" fmla="*/ 772 h 894"/>
              <a:gd name="T4" fmla="*/ 1160 w 8479"/>
              <a:gd name="T5" fmla="*/ 744 h 894"/>
              <a:gd name="T6" fmla="*/ 1160 w 8479"/>
              <a:gd name="T7" fmla="*/ 263 h 894"/>
              <a:gd name="T8" fmla="*/ 1188 w 8479"/>
              <a:gd name="T9" fmla="*/ 235 h 894"/>
              <a:gd name="T10" fmla="*/ 2202 w 8479"/>
              <a:gd name="T11" fmla="*/ 235 h 894"/>
              <a:gd name="T12" fmla="*/ 2230 w 8479"/>
              <a:gd name="T13" fmla="*/ 263 h 894"/>
              <a:gd name="T14" fmla="*/ 2230 w 8479"/>
              <a:gd name="T15" fmla="*/ 745 h 894"/>
              <a:gd name="T16" fmla="*/ 2258 w 8479"/>
              <a:gd name="T17" fmla="*/ 773 h 894"/>
              <a:gd name="T18" fmla="*/ 3688 w 8479"/>
              <a:gd name="T19" fmla="*/ 773 h 894"/>
              <a:gd name="T20" fmla="*/ 3716 w 8479"/>
              <a:gd name="T21" fmla="*/ 745 h 894"/>
              <a:gd name="T22" fmla="*/ 3716 w 8479"/>
              <a:gd name="T23" fmla="*/ 28 h 894"/>
              <a:gd name="T24" fmla="*/ 3744 w 8479"/>
              <a:gd name="T25" fmla="*/ 0 h 894"/>
              <a:gd name="T26" fmla="*/ 5033 w 8479"/>
              <a:gd name="T27" fmla="*/ 0 h 894"/>
              <a:gd name="T28" fmla="*/ 5061 w 8479"/>
              <a:gd name="T29" fmla="*/ 28 h 894"/>
              <a:gd name="T30" fmla="*/ 5061 w 8479"/>
              <a:gd name="T31" fmla="*/ 516 h 894"/>
              <a:gd name="T32" fmla="*/ 5089 w 8479"/>
              <a:gd name="T33" fmla="*/ 544 h 894"/>
              <a:gd name="T34" fmla="*/ 5446 w 8479"/>
              <a:gd name="T35" fmla="*/ 544 h 894"/>
              <a:gd name="T36" fmla="*/ 5474 w 8479"/>
              <a:gd name="T37" fmla="*/ 516 h 894"/>
              <a:gd name="T38" fmla="*/ 5474 w 8479"/>
              <a:gd name="T39" fmla="*/ 205 h 894"/>
              <a:gd name="T40" fmla="*/ 5502 w 8479"/>
              <a:gd name="T41" fmla="*/ 177 h 894"/>
              <a:gd name="T42" fmla="*/ 6295 w 8479"/>
              <a:gd name="T43" fmla="*/ 177 h 894"/>
              <a:gd name="T44" fmla="*/ 6323 w 8479"/>
              <a:gd name="T45" fmla="*/ 205 h 894"/>
              <a:gd name="T46" fmla="*/ 6323 w 8479"/>
              <a:gd name="T47" fmla="*/ 866 h 894"/>
              <a:gd name="T48" fmla="*/ 6351 w 8479"/>
              <a:gd name="T49" fmla="*/ 894 h 894"/>
              <a:gd name="T50" fmla="*/ 7237 w 8479"/>
              <a:gd name="T51" fmla="*/ 894 h 894"/>
              <a:gd name="T52" fmla="*/ 7265 w 8479"/>
              <a:gd name="T53" fmla="*/ 866 h 894"/>
              <a:gd name="T54" fmla="*/ 7265 w 8479"/>
              <a:gd name="T55" fmla="*/ 563 h 894"/>
              <a:gd name="T56" fmla="*/ 7293 w 8479"/>
              <a:gd name="T57" fmla="*/ 535 h 894"/>
              <a:gd name="T58" fmla="*/ 8479 w 8479"/>
              <a:gd name="T59" fmla="*/ 535 h 894"/>
              <a:gd name="connsiteX0" fmla="*/ 0 w 8665"/>
              <a:gd name="connsiteY0" fmla="*/ 8635 h 10000"/>
              <a:gd name="connsiteX1" fmla="*/ 33 w 8665"/>
              <a:gd name="connsiteY1" fmla="*/ 8322 h 10000"/>
              <a:gd name="connsiteX2" fmla="*/ 33 w 8665"/>
              <a:gd name="connsiteY2" fmla="*/ 2942 h 10000"/>
              <a:gd name="connsiteX3" fmla="*/ 66 w 8665"/>
              <a:gd name="connsiteY3" fmla="*/ 2629 h 10000"/>
              <a:gd name="connsiteX4" fmla="*/ 1262 w 8665"/>
              <a:gd name="connsiteY4" fmla="*/ 2629 h 10000"/>
              <a:gd name="connsiteX5" fmla="*/ 1295 w 8665"/>
              <a:gd name="connsiteY5" fmla="*/ 2942 h 10000"/>
              <a:gd name="connsiteX6" fmla="*/ 1295 w 8665"/>
              <a:gd name="connsiteY6" fmla="*/ 8333 h 10000"/>
              <a:gd name="connsiteX7" fmla="*/ 1328 w 8665"/>
              <a:gd name="connsiteY7" fmla="*/ 8647 h 10000"/>
              <a:gd name="connsiteX8" fmla="*/ 3015 w 8665"/>
              <a:gd name="connsiteY8" fmla="*/ 8647 h 10000"/>
              <a:gd name="connsiteX9" fmla="*/ 3048 w 8665"/>
              <a:gd name="connsiteY9" fmla="*/ 8333 h 10000"/>
              <a:gd name="connsiteX10" fmla="*/ 3048 w 8665"/>
              <a:gd name="connsiteY10" fmla="*/ 313 h 10000"/>
              <a:gd name="connsiteX11" fmla="*/ 3081 w 8665"/>
              <a:gd name="connsiteY11" fmla="*/ 0 h 10000"/>
              <a:gd name="connsiteX12" fmla="*/ 4601 w 8665"/>
              <a:gd name="connsiteY12" fmla="*/ 0 h 10000"/>
              <a:gd name="connsiteX13" fmla="*/ 4634 w 8665"/>
              <a:gd name="connsiteY13" fmla="*/ 313 h 10000"/>
              <a:gd name="connsiteX14" fmla="*/ 4634 w 8665"/>
              <a:gd name="connsiteY14" fmla="*/ 5772 h 10000"/>
              <a:gd name="connsiteX15" fmla="*/ 4667 w 8665"/>
              <a:gd name="connsiteY15" fmla="*/ 6085 h 10000"/>
              <a:gd name="connsiteX16" fmla="*/ 5088 w 8665"/>
              <a:gd name="connsiteY16" fmla="*/ 6085 h 10000"/>
              <a:gd name="connsiteX17" fmla="*/ 5121 w 8665"/>
              <a:gd name="connsiteY17" fmla="*/ 5772 h 10000"/>
              <a:gd name="connsiteX18" fmla="*/ 5121 w 8665"/>
              <a:gd name="connsiteY18" fmla="*/ 2293 h 10000"/>
              <a:gd name="connsiteX19" fmla="*/ 5154 w 8665"/>
              <a:gd name="connsiteY19" fmla="*/ 1980 h 10000"/>
              <a:gd name="connsiteX20" fmla="*/ 6089 w 8665"/>
              <a:gd name="connsiteY20" fmla="*/ 1980 h 10000"/>
              <a:gd name="connsiteX21" fmla="*/ 6122 w 8665"/>
              <a:gd name="connsiteY21" fmla="*/ 2293 h 10000"/>
              <a:gd name="connsiteX22" fmla="*/ 6122 w 8665"/>
              <a:gd name="connsiteY22" fmla="*/ 9687 h 10000"/>
              <a:gd name="connsiteX23" fmla="*/ 6155 w 8665"/>
              <a:gd name="connsiteY23" fmla="*/ 10000 h 10000"/>
              <a:gd name="connsiteX24" fmla="*/ 7200 w 8665"/>
              <a:gd name="connsiteY24" fmla="*/ 10000 h 10000"/>
              <a:gd name="connsiteX25" fmla="*/ 7233 w 8665"/>
              <a:gd name="connsiteY25" fmla="*/ 9687 h 10000"/>
              <a:gd name="connsiteX26" fmla="*/ 7233 w 8665"/>
              <a:gd name="connsiteY26" fmla="*/ 6298 h 10000"/>
              <a:gd name="connsiteX27" fmla="*/ 7266 w 8665"/>
              <a:gd name="connsiteY27" fmla="*/ 5984 h 10000"/>
              <a:gd name="connsiteX28" fmla="*/ 8665 w 8665"/>
              <a:gd name="connsiteY28" fmla="*/ 5984 h 10000"/>
              <a:gd name="connsiteX0" fmla="*/ 0 w 9962"/>
              <a:gd name="connsiteY0" fmla="*/ 8322 h 10000"/>
              <a:gd name="connsiteX1" fmla="*/ 0 w 9962"/>
              <a:gd name="connsiteY1" fmla="*/ 2942 h 10000"/>
              <a:gd name="connsiteX2" fmla="*/ 38 w 9962"/>
              <a:gd name="connsiteY2" fmla="*/ 2629 h 10000"/>
              <a:gd name="connsiteX3" fmla="*/ 1418 w 9962"/>
              <a:gd name="connsiteY3" fmla="*/ 2629 h 10000"/>
              <a:gd name="connsiteX4" fmla="*/ 1457 w 9962"/>
              <a:gd name="connsiteY4" fmla="*/ 2942 h 10000"/>
              <a:gd name="connsiteX5" fmla="*/ 1457 w 9962"/>
              <a:gd name="connsiteY5" fmla="*/ 8333 h 10000"/>
              <a:gd name="connsiteX6" fmla="*/ 1495 w 9962"/>
              <a:gd name="connsiteY6" fmla="*/ 8647 h 10000"/>
              <a:gd name="connsiteX7" fmla="*/ 3442 w 9962"/>
              <a:gd name="connsiteY7" fmla="*/ 8647 h 10000"/>
              <a:gd name="connsiteX8" fmla="*/ 3480 w 9962"/>
              <a:gd name="connsiteY8" fmla="*/ 8333 h 10000"/>
              <a:gd name="connsiteX9" fmla="*/ 3480 w 9962"/>
              <a:gd name="connsiteY9" fmla="*/ 313 h 10000"/>
              <a:gd name="connsiteX10" fmla="*/ 3518 w 9962"/>
              <a:gd name="connsiteY10" fmla="*/ 0 h 10000"/>
              <a:gd name="connsiteX11" fmla="*/ 5272 w 9962"/>
              <a:gd name="connsiteY11" fmla="*/ 0 h 10000"/>
              <a:gd name="connsiteX12" fmla="*/ 5310 w 9962"/>
              <a:gd name="connsiteY12" fmla="*/ 313 h 10000"/>
              <a:gd name="connsiteX13" fmla="*/ 5310 w 9962"/>
              <a:gd name="connsiteY13" fmla="*/ 5772 h 10000"/>
              <a:gd name="connsiteX14" fmla="*/ 5348 w 9962"/>
              <a:gd name="connsiteY14" fmla="*/ 6085 h 10000"/>
              <a:gd name="connsiteX15" fmla="*/ 5834 w 9962"/>
              <a:gd name="connsiteY15" fmla="*/ 6085 h 10000"/>
              <a:gd name="connsiteX16" fmla="*/ 5872 w 9962"/>
              <a:gd name="connsiteY16" fmla="*/ 5772 h 10000"/>
              <a:gd name="connsiteX17" fmla="*/ 5872 w 9962"/>
              <a:gd name="connsiteY17" fmla="*/ 2293 h 10000"/>
              <a:gd name="connsiteX18" fmla="*/ 5910 w 9962"/>
              <a:gd name="connsiteY18" fmla="*/ 1980 h 10000"/>
              <a:gd name="connsiteX19" fmla="*/ 6989 w 9962"/>
              <a:gd name="connsiteY19" fmla="*/ 1980 h 10000"/>
              <a:gd name="connsiteX20" fmla="*/ 7027 w 9962"/>
              <a:gd name="connsiteY20" fmla="*/ 2293 h 10000"/>
              <a:gd name="connsiteX21" fmla="*/ 7027 w 9962"/>
              <a:gd name="connsiteY21" fmla="*/ 9687 h 10000"/>
              <a:gd name="connsiteX22" fmla="*/ 7065 w 9962"/>
              <a:gd name="connsiteY22" fmla="*/ 10000 h 10000"/>
              <a:gd name="connsiteX23" fmla="*/ 8271 w 9962"/>
              <a:gd name="connsiteY23" fmla="*/ 10000 h 10000"/>
              <a:gd name="connsiteX24" fmla="*/ 8309 w 9962"/>
              <a:gd name="connsiteY24" fmla="*/ 9687 h 10000"/>
              <a:gd name="connsiteX25" fmla="*/ 8309 w 9962"/>
              <a:gd name="connsiteY25" fmla="*/ 6298 h 10000"/>
              <a:gd name="connsiteX26" fmla="*/ 8347 w 9962"/>
              <a:gd name="connsiteY26" fmla="*/ 5984 h 10000"/>
              <a:gd name="connsiteX27" fmla="*/ 9962 w 9962"/>
              <a:gd name="connsiteY27" fmla="*/ 5984 h 10000"/>
              <a:gd name="connsiteX0" fmla="*/ 0 w 10000"/>
              <a:gd name="connsiteY0" fmla="*/ 2942 h 10000"/>
              <a:gd name="connsiteX1" fmla="*/ 38 w 10000"/>
              <a:gd name="connsiteY1" fmla="*/ 2629 h 10000"/>
              <a:gd name="connsiteX2" fmla="*/ 1423 w 10000"/>
              <a:gd name="connsiteY2" fmla="*/ 2629 h 10000"/>
              <a:gd name="connsiteX3" fmla="*/ 1463 w 10000"/>
              <a:gd name="connsiteY3" fmla="*/ 2942 h 10000"/>
              <a:gd name="connsiteX4" fmla="*/ 1463 w 10000"/>
              <a:gd name="connsiteY4" fmla="*/ 8333 h 10000"/>
              <a:gd name="connsiteX5" fmla="*/ 1501 w 10000"/>
              <a:gd name="connsiteY5" fmla="*/ 8647 h 10000"/>
              <a:gd name="connsiteX6" fmla="*/ 3455 w 10000"/>
              <a:gd name="connsiteY6" fmla="*/ 8647 h 10000"/>
              <a:gd name="connsiteX7" fmla="*/ 3493 w 10000"/>
              <a:gd name="connsiteY7" fmla="*/ 8333 h 10000"/>
              <a:gd name="connsiteX8" fmla="*/ 3493 w 10000"/>
              <a:gd name="connsiteY8" fmla="*/ 313 h 10000"/>
              <a:gd name="connsiteX9" fmla="*/ 3531 w 10000"/>
              <a:gd name="connsiteY9" fmla="*/ 0 h 10000"/>
              <a:gd name="connsiteX10" fmla="*/ 5292 w 10000"/>
              <a:gd name="connsiteY10" fmla="*/ 0 h 10000"/>
              <a:gd name="connsiteX11" fmla="*/ 5330 w 10000"/>
              <a:gd name="connsiteY11" fmla="*/ 313 h 10000"/>
              <a:gd name="connsiteX12" fmla="*/ 5330 w 10000"/>
              <a:gd name="connsiteY12" fmla="*/ 5772 h 10000"/>
              <a:gd name="connsiteX13" fmla="*/ 5368 w 10000"/>
              <a:gd name="connsiteY13" fmla="*/ 6085 h 10000"/>
              <a:gd name="connsiteX14" fmla="*/ 5856 w 10000"/>
              <a:gd name="connsiteY14" fmla="*/ 6085 h 10000"/>
              <a:gd name="connsiteX15" fmla="*/ 5894 w 10000"/>
              <a:gd name="connsiteY15" fmla="*/ 5772 h 10000"/>
              <a:gd name="connsiteX16" fmla="*/ 5894 w 10000"/>
              <a:gd name="connsiteY16" fmla="*/ 2293 h 10000"/>
              <a:gd name="connsiteX17" fmla="*/ 5933 w 10000"/>
              <a:gd name="connsiteY17" fmla="*/ 1980 h 10000"/>
              <a:gd name="connsiteX18" fmla="*/ 7016 w 10000"/>
              <a:gd name="connsiteY18" fmla="*/ 1980 h 10000"/>
              <a:gd name="connsiteX19" fmla="*/ 7054 w 10000"/>
              <a:gd name="connsiteY19" fmla="*/ 2293 h 10000"/>
              <a:gd name="connsiteX20" fmla="*/ 7054 w 10000"/>
              <a:gd name="connsiteY20" fmla="*/ 9687 h 10000"/>
              <a:gd name="connsiteX21" fmla="*/ 7092 w 10000"/>
              <a:gd name="connsiteY21" fmla="*/ 10000 h 10000"/>
              <a:gd name="connsiteX22" fmla="*/ 8303 w 10000"/>
              <a:gd name="connsiteY22" fmla="*/ 10000 h 10000"/>
              <a:gd name="connsiteX23" fmla="*/ 8341 w 10000"/>
              <a:gd name="connsiteY23" fmla="*/ 9687 h 10000"/>
              <a:gd name="connsiteX24" fmla="*/ 8341 w 10000"/>
              <a:gd name="connsiteY24" fmla="*/ 6298 h 10000"/>
              <a:gd name="connsiteX25" fmla="*/ 8379 w 10000"/>
              <a:gd name="connsiteY25" fmla="*/ 5984 h 10000"/>
              <a:gd name="connsiteX26" fmla="*/ 10000 w 10000"/>
              <a:gd name="connsiteY26" fmla="*/ 5984 h 10000"/>
              <a:gd name="connsiteX0" fmla="*/ 0 w 9962"/>
              <a:gd name="connsiteY0" fmla="*/ 2629 h 10000"/>
              <a:gd name="connsiteX1" fmla="*/ 1385 w 9962"/>
              <a:gd name="connsiteY1" fmla="*/ 2629 h 10000"/>
              <a:gd name="connsiteX2" fmla="*/ 1425 w 9962"/>
              <a:gd name="connsiteY2" fmla="*/ 2942 h 10000"/>
              <a:gd name="connsiteX3" fmla="*/ 1425 w 9962"/>
              <a:gd name="connsiteY3" fmla="*/ 8333 h 10000"/>
              <a:gd name="connsiteX4" fmla="*/ 1463 w 9962"/>
              <a:gd name="connsiteY4" fmla="*/ 8647 h 10000"/>
              <a:gd name="connsiteX5" fmla="*/ 3417 w 9962"/>
              <a:gd name="connsiteY5" fmla="*/ 8647 h 10000"/>
              <a:gd name="connsiteX6" fmla="*/ 3455 w 9962"/>
              <a:gd name="connsiteY6" fmla="*/ 8333 h 10000"/>
              <a:gd name="connsiteX7" fmla="*/ 3455 w 9962"/>
              <a:gd name="connsiteY7" fmla="*/ 313 h 10000"/>
              <a:gd name="connsiteX8" fmla="*/ 3493 w 9962"/>
              <a:gd name="connsiteY8" fmla="*/ 0 h 10000"/>
              <a:gd name="connsiteX9" fmla="*/ 5254 w 9962"/>
              <a:gd name="connsiteY9" fmla="*/ 0 h 10000"/>
              <a:gd name="connsiteX10" fmla="*/ 5292 w 9962"/>
              <a:gd name="connsiteY10" fmla="*/ 313 h 10000"/>
              <a:gd name="connsiteX11" fmla="*/ 5292 w 9962"/>
              <a:gd name="connsiteY11" fmla="*/ 5772 h 10000"/>
              <a:gd name="connsiteX12" fmla="*/ 5330 w 9962"/>
              <a:gd name="connsiteY12" fmla="*/ 6085 h 10000"/>
              <a:gd name="connsiteX13" fmla="*/ 5818 w 9962"/>
              <a:gd name="connsiteY13" fmla="*/ 6085 h 10000"/>
              <a:gd name="connsiteX14" fmla="*/ 5856 w 9962"/>
              <a:gd name="connsiteY14" fmla="*/ 5772 h 10000"/>
              <a:gd name="connsiteX15" fmla="*/ 5856 w 9962"/>
              <a:gd name="connsiteY15" fmla="*/ 2293 h 10000"/>
              <a:gd name="connsiteX16" fmla="*/ 5895 w 9962"/>
              <a:gd name="connsiteY16" fmla="*/ 1980 h 10000"/>
              <a:gd name="connsiteX17" fmla="*/ 6978 w 9962"/>
              <a:gd name="connsiteY17" fmla="*/ 1980 h 10000"/>
              <a:gd name="connsiteX18" fmla="*/ 7016 w 9962"/>
              <a:gd name="connsiteY18" fmla="*/ 2293 h 10000"/>
              <a:gd name="connsiteX19" fmla="*/ 7016 w 9962"/>
              <a:gd name="connsiteY19" fmla="*/ 9687 h 10000"/>
              <a:gd name="connsiteX20" fmla="*/ 7054 w 9962"/>
              <a:gd name="connsiteY20" fmla="*/ 10000 h 10000"/>
              <a:gd name="connsiteX21" fmla="*/ 8265 w 9962"/>
              <a:gd name="connsiteY21" fmla="*/ 10000 h 10000"/>
              <a:gd name="connsiteX22" fmla="*/ 8303 w 9962"/>
              <a:gd name="connsiteY22" fmla="*/ 9687 h 10000"/>
              <a:gd name="connsiteX23" fmla="*/ 8303 w 9962"/>
              <a:gd name="connsiteY23" fmla="*/ 6298 h 10000"/>
              <a:gd name="connsiteX24" fmla="*/ 8341 w 9962"/>
              <a:gd name="connsiteY24" fmla="*/ 5984 h 10000"/>
              <a:gd name="connsiteX25" fmla="*/ 9962 w 9962"/>
              <a:gd name="connsiteY25" fmla="*/ 5984 h 10000"/>
              <a:gd name="connsiteX0" fmla="*/ 0 w 8610"/>
              <a:gd name="connsiteY0" fmla="*/ 2629 h 10000"/>
              <a:gd name="connsiteX1" fmla="*/ 40 w 8610"/>
              <a:gd name="connsiteY1" fmla="*/ 2942 h 10000"/>
              <a:gd name="connsiteX2" fmla="*/ 40 w 8610"/>
              <a:gd name="connsiteY2" fmla="*/ 8333 h 10000"/>
              <a:gd name="connsiteX3" fmla="*/ 79 w 8610"/>
              <a:gd name="connsiteY3" fmla="*/ 8647 h 10000"/>
              <a:gd name="connsiteX4" fmla="*/ 2040 w 8610"/>
              <a:gd name="connsiteY4" fmla="*/ 8647 h 10000"/>
              <a:gd name="connsiteX5" fmla="*/ 2078 w 8610"/>
              <a:gd name="connsiteY5" fmla="*/ 8333 h 10000"/>
              <a:gd name="connsiteX6" fmla="*/ 2078 w 8610"/>
              <a:gd name="connsiteY6" fmla="*/ 313 h 10000"/>
              <a:gd name="connsiteX7" fmla="*/ 2116 w 8610"/>
              <a:gd name="connsiteY7" fmla="*/ 0 h 10000"/>
              <a:gd name="connsiteX8" fmla="*/ 3884 w 8610"/>
              <a:gd name="connsiteY8" fmla="*/ 0 h 10000"/>
              <a:gd name="connsiteX9" fmla="*/ 3922 w 8610"/>
              <a:gd name="connsiteY9" fmla="*/ 313 h 10000"/>
              <a:gd name="connsiteX10" fmla="*/ 3922 w 8610"/>
              <a:gd name="connsiteY10" fmla="*/ 5772 h 10000"/>
              <a:gd name="connsiteX11" fmla="*/ 3960 w 8610"/>
              <a:gd name="connsiteY11" fmla="*/ 6085 h 10000"/>
              <a:gd name="connsiteX12" fmla="*/ 4450 w 8610"/>
              <a:gd name="connsiteY12" fmla="*/ 6085 h 10000"/>
              <a:gd name="connsiteX13" fmla="*/ 4488 w 8610"/>
              <a:gd name="connsiteY13" fmla="*/ 5772 h 10000"/>
              <a:gd name="connsiteX14" fmla="*/ 4488 w 8610"/>
              <a:gd name="connsiteY14" fmla="*/ 2293 h 10000"/>
              <a:gd name="connsiteX15" fmla="*/ 4527 w 8610"/>
              <a:gd name="connsiteY15" fmla="*/ 1980 h 10000"/>
              <a:gd name="connsiteX16" fmla="*/ 5615 w 8610"/>
              <a:gd name="connsiteY16" fmla="*/ 1980 h 10000"/>
              <a:gd name="connsiteX17" fmla="*/ 5653 w 8610"/>
              <a:gd name="connsiteY17" fmla="*/ 2293 h 10000"/>
              <a:gd name="connsiteX18" fmla="*/ 5653 w 8610"/>
              <a:gd name="connsiteY18" fmla="*/ 9687 h 10000"/>
              <a:gd name="connsiteX19" fmla="*/ 5691 w 8610"/>
              <a:gd name="connsiteY19" fmla="*/ 10000 h 10000"/>
              <a:gd name="connsiteX20" fmla="*/ 6907 w 8610"/>
              <a:gd name="connsiteY20" fmla="*/ 10000 h 10000"/>
              <a:gd name="connsiteX21" fmla="*/ 6945 w 8610"/>
              <a:gd name="connsiteY21" fmla="*/ 9687 h 10000"/>
              <a:gd name="connsiteX22" fmla="*/ 6945 w 8610"/>
              <a:gd name="connsiteY22" fmla="*/ 6298 h 10000"/>
              <a:gd name="connsiteX23" fmla="*/ 6983 w 8610"/>
              <a:gd name="connsiteY23" fmla="*/ 5984 h 10000"/>
              <a:gd name="connsiteX24" fmla="*/ 8610 w 8610"/>
              <a:gd name="connsiteY24" fmla="*/ 5984 h 10000"/>
              <a:gd name="connsiteX0" fmla="*/ 0 w 9954"/>
              <a:gd name="connsiteY0" fmla="*/ 2942 h 10000"/>
              <a:gd name="connsiteX1" fmla="*/ 0 w 9954"/>
              <a:gd name="connsiteY1" fmla="*/ 8333 h 10000"/>
              <a:gd name="connsiteX2" fmla="*/ 46 w 9954"/>
              <a:gd name="connsiteY2" fmla="*/ 8647 h 10000"/>
              <a:gd name="connsiteX3" fmla="*/ 2323 w 9954"/>
              <a:gd name="connsiteY3" fmla="*/ 8647 h 10000"/>
              <a:gd name="connsiteX4" fmla="*/ 2367 w 9954"/>
              <a:gd name="connsiteY4" fmla="*/ 8333 h 10000"/>
              <a:gd name="connsiteX5" fmla="*/ 2367 w 9954"/>
              <a:gd name="connsiteY5" fmla="*/ 313 h 10000"/>
              <a:gd name="connsiteX6" fmla="*/ 2412 w 9954"/>
              <a:gd name="connsiteY6" fmla="*/ 0 h 10000"/>
              <a:gd name="connsiteX7" fmla="*/ 4465 w 9954"/>
              <a:gd name="connsiteY7" fmla="*/ 0 h 10000"/>
              <a:gd name="connsiteX8" fmla="*/ 4509 w 9954"/>
              <a:gd name="connsiteY8" fmla="*/ 313 h 10000"/>
              <a:gd name="connsiteX9" fmla="*/ 4509 w 9954"/>
              <a:gd name="connsiteY9" fmla="*/ 5772 h 10000"/>
              <a:gd name="connsiteX10" fmla="*/ 4553 w 9954"/>
              <a:gd name="connsiteY10" fmla="*/ 6085 h 10000"/>
              <a:gd name="connsiteX11" fmla="*/ 5122 w 9954"/>
              <a:gd name="connsiteY11" fmla="*/ 6085 h 10000"/>
              <a:gd name="connsiteX12" fmla="*/ 5167 w 9954"/>
              <a:gd name="connsiteY12" fmla="*/ 5772 h 10000"/>
              <a:gd name="connsiteX13" fmla="*/ 5167 w 9954"/>
              <a:gd name="connsiteY13" fmla="*/ 2293 h 10000"/>
              <a:gd name="connsiteX14" fmla="*/ 5212 w 9954"/>
              <a:gd name="connsiteY14" fmla="*/ 1980 h 10000"/>
              <a:gd name="connsiteX15" fmla="*/ 6475 w 9954"/>
              <a:gd name="connsiteY15" fmla="*/ 1980 h 10000"/>
              <a:gd name="connsiteX16" fmla="*/ 6520 w 9954"/>
              <a:gd name="connsiteY16" fmla="*/ 2293 h 10000"/>
              <a:gd name="connsiteX17" fmla="*/ 6520 w 9954"/>
              <a:gd name="connsiteY17" fmla="*/ 9687 h 10000"/>
              <a:gd name="connsiteX18" fmla="*/ 6564 w 9954"/>
              <a:gd name="connsiteY18" fmla="*/ 10000 h 10000"/>
              <a:gd name="connsiteX19" fmla="*/ 7976 w 9954"/>
              <a:gd name="connsiteY19" fmla="*/ 10000 h 10000"/>
              <a:gd name="connsiteX20" fmla="*/ 8020 w 9954"/>
              <a:gd name="connsiteY20" fmla="*/ 9687 h 10000"/>
              <a:gd name="connsiteX21" fmla="*/ 8020 w 9954"/>
              <a:gd name="connsiteY21" fmla="*/ 6298 h 10000"/>
              <a:gd name="connsiteX22" fmla="*/ 8064 w 9954"/>
              <a:gd name="connsiteY22" fmla="*/ 5984 h 10000"/>
              <a:gd name="connsiteX23" fmla="*/ 9954 w 9954"/>
              <a:gd name="connsiteY23" fmla="*/ 5984 h 10000"/>
              <a:gd name="connsiteX0" fmla="*/ 0 w 10000"/>
              <a:gd name="connsiteY0" fmla="*/ 8333 h 10000"/>
              <a:gd name="connsiteX1" fmla="*/ 46 w 10000"/>
              <a:gd name="connsiteY1" fmla="*/ 8647 h 10000"/>
              <a:gd name="connsiteX2" fmla="*/ 2334 w 10000"/>
              <a:gd name="connsiteY2" fmla="*/ 8647 h 10000"/>
              <a:gd name="connsiteX3" fmla="*/ 2378 w 10000"/>
              <a:gd name="connsiteY3" fmla="*/ 8333 h 10000"/>
              <a:gd name="connsiteX4" fmla="*/ 2378 w 10000"/>
              <a:gd name="connsiteY4" fmla="*/ 313 h 10000"/>
              <a:gd name="connsiteX5" fmla="*/ 2423 w 10000"/>
              <a:gd name="connsiteY5" fmla="*/ 0 h 10000"/>
              <a:gd name="connsiteX6" fmla="*/ 4486 w 10000"/>
              <a:gd name="connsiteY6" fmla="*/ 0 h 10000"/>
              <a:gd name="connsiteX7" fmla="*/ 4530 w 10000"/>
              <a:gd name="connsiteY7" fmla="*/ 313 h 10000"/>
              <a:gd name="connsiteX8" fmla="*/ 4530 w 10000"/>
              <a:gd name="connsiteY8" fmla="*/ 5772 h 10000"/>
              <a:gd name="connsiteX9" fmla="*/ 4574 w 10000"/>
              <a:gd name="connsiteY9" fmla="*/ 6085 h 10000"/>
              <a:gd name="connsiteX10" fmla="*/ 5146 w 10000"/>
              <a:gd name="connsiteY10" fmla="*/ 6085 h 10000"/>
              <a:gd name="connsiteX11" fmla="*/ 5191 w 10000"/>
              <a:gd name="connsiteY11" fmla="*/ 5772 h 10000"/>
              <a:gd name="connsiteX12" fmla="*/ 5191 w 10000"/>
              <a:gd name="connsiteY12" fmla="*/ 2293 h 10000"/>
              <a:gd name="connsiteX13" fmla="*/ 5236 w 10000"/>
              <a:gd name="connsiteY13" fmla="*/ 1980 h 10000"/>
              <a:gd name="connsiteX14" fmla="*/ 6505 w 10000"/>
              <a:gd name="connsiteY14" fmla="*/ 1980 h 10000"/>
              <a:gd name="connsiteX15" fmla="*/ 6550 w 10000"/>
              <a:gd name="connsiteY15" fmla="*/ 2293 h 10000"/>
              <a:gd name="connsiteX16" fmla="*/ 6550 w 10000"/>
              <a:gd name="connsiteY16" fmla="*/ 9687 h 10000"/>
              <a:gd name="connsiteX17" fmla="*/ 6594 w 10000"/>
              <a:gd name="connsiteY17" fmla="*/ 10000 h 10000"/>
              <a:gd name="connsiteX18" fmla="*/ 8013 w 10000"/>
              <a:gd name="connsiteY18" fmla="*/ 10000 h 10000"/>
              <a:gd name="connsiteX19" fmla="*/ 8057 w 10000"/>
              <a:gd name="connsiteY19" fmla="*/ 9687 h 10000"/>
              <a:gd name="connsiteX20" fmla="*/ 8057 w 10000"/>
              <a:gd name="connsiteY20" fmla="*/ 6298 h 10000"/>
              <a:gd name="connsiteX21" fmla="*/ 8101 w 10000"/>
              <a:gd name="connsiteY21" fmla="*/ 5984 h 10000"/>
              <a:gd name="connsiteX22" fmla="*/ 10000 w 10000"/>
              <a:gd name="connsiteY22" fmla="*/ 5984 h 10000"/>
              <a:gd name="connsiteX0" fmla="*/ 0 w 8101"/>
              <a:gd name="connsiteY0" fmla="*/ 8333 h 10000"/>
              <a:gd name="connsiteX1" fmla="*/ 46 w 8101"/>
              <a:gd name="connsiteY1" fmla="*/ 8647 h 10000"/>
              <a:gd name="connsiteX2" fmla="*/ 2334 w 8101"/>
              <a:gd name="connsiteY2" fmla="*/ 8647 h 10000"/>
              <a:gd name="connsiteX3" fmla="*/ 2378 w 8101"/>
              <a:gd name="connsiteY3" fmla="*/ 8333 h 10000"/>
              <a:gd name="connsiteX4" fmla="*/ 2378 w 8101"/>
              <a:gd name="connsiteY4" fmla="*/ 313 h 10000"/>
              <a:gd name="connsiteX5" fmla="*/ 2423 w 8101"/>
              <a:gd name="connsiteY5" fmla="*/ 0 h 10000"/>
              <a:gd name="connsiteX6" fmla="*/ 4486 w 8101"/>
              <a:gd name="connsiteY6" fmla="*/ 0 h 10000"/>
              <a:gd name="connsiteX7" fmla="*/ 4530 w 8101"/>
              <a:gd name="connsiteY7" fmla="*/ 313 h 10000"/>
              <a:gd name="connsiteX8" fmla="*/ 4530 w 8101"/>
              <a:gd name="connsiteY8" fmla="*/ 5772 h 10000"/>
              <a:gd name="connsiteX9" fmla="*/ 4574 w 8101"/>
              <a:gd name="connsiteY9" fmla="*/ 6085 h 10000"/>
              <a:gd name="connsiteX10" fmla="*/ 5146 w 8101"/>
              <a:gd name="connsiteY10" fmla="*/ 6085 h 10000"/>
              <a:gd name="connsiteX11" fmla="*/ 5191 w 8101"/>
              <a:gd name="connsiteY11" fmla="*/ 5772 h 10000"/>
              <a:gd name="connsiteX12" fmla="*/ 5191 w 8101"/>
              <a:gd name="connsiteY12" fmla="*/ 2293 h 10000"/>
              <a:gd name="connsiteX13" fmla="*/ 5236 w 8101"/>
              <a:gd name="connsiteY13" fmla="*/ 1980 h 10000"/>
              <a:gd name="connsiteX14" fmla="*/ 6505 w 8101"/>
              <a:gd name="connsiteY14" fmla="*/ 1980 h 10000"/>
              <a:gd name="connsiteX15" fmla="*/ 6550 w 8101"/>
              <a:gd name="connsiteY15" fmla="*/ 2293 h 10000"/>
              <a:gd name="connsiteX16" fmla="*/ 6550 w 8101"/>
              <a:gd name="connsiteY16" fmla="*/ 9687 h 10000"/>
              <a:gd name="connsiteX17" fmla="*/ 6594 w 8101"/>
              <a:gd name="connsiteY17" fmla="*/ 10000 h 10000"/>
              <a:gd name="connsiteX18" fmla="*/ 8013 w 8101"/>
              <a:gd name="connsiteY18" fmla="*/ 10000 h 10000"/>
              <a:gd name="connsiteX19" fmla="*/ 8057 w 8101"/>
              <a:gd name="connsiteY19" fmla="*/ 9687 h 10000"/>
              <a:gd name="connsiteX20" fmla="*/ 8057 w 8101"/>
              <a:gd name="connsiteY20" fmla="*/ 6298 h 10000"/>
              <a:gd name="connsiteX21" fmla="*/ 8101 w 8101"/>
              <a:gd name="connsiteY21" fmla="*/ 5984 h 10000"/>
              <a:gd name="connsiteX0" fmla="*/ 0 w 9946"/>
              <a:gd name="connsiteY0" fmla="*/ 8333 h 10000"/>
              <a:gd name="connsiteX1" fmla="*/ 57 w 9946"/>
              <a:gd name="connsiteY1" fmla="*/ 8647 h 10000"/>
              <a:gd name="connsiteX2" fmla="*/ 2881 w 9946"/>
              <a:gd name="connsiteY2" fmla="*/ 8647 h 10000"/>
              <a:gd name="connsiteX3" fmla="*/ 2935 w 9946"/>
              <a:gd name="connsiteY3" fmla="*/ 8333 h 10000"/>
              <a:gd name="connsiteX4" fmla="*/ 2935 w 9946"/>
              <a:gd name="connsiteY4" fmla="*/ 313 h 10000"/>
              <a:gd name="connsiteX5" fmla="*/ 2991 w 9946"/>
              <a:gd name="connsiteY5" fmla="*/ 0 h 10000"/>
              <a:gd name="connsiteX6" fmla="*/ 5538 w 9946"/>
              <a:gd name="connsiteY6" fmla="*/ 0 h 10000"/>
              <a:gd name="connsiteX7" fmla="*/ 5592 w 9946"/>
              <a:gd name="connsiteY7" fmla="*/ 313 h 10000"/>
              <a:gd name="connsiteX8" fmla="*/ 5592 w 9946"/>
              <a:gd name="connsiteY8" fmla="*/ 5772 h 10000"/>
              <a:gd name="connsiteX9" fmla="*/ 5646 w 9946"/>
              <a:gd name="connsiteY9" fmla="*/ 6085 h 10000"/>
              <a:gd name="connsiteX10" fmla="*/ 6352 w 9946"/>
              <a:gd name="connsiteY10" fmla="*/ 6085 h 10000"/>
              <a:gd name="connsiteX11" fmla="*/ 6408 w 9946"/>
              <a:gd name="connsiteY11" fmla="*/ 5772 h 10000"/>
              <a:gd name="connsiteX12" fmla="*/ 6408 w 9946"/>
              <a:gd name="connsiteY12" fmla="*/ 2293 h 10000"/>
              <a:gd name="connsiteX13" fmla="*/ 6463 w 9946"/>
              <a:gd name="connsiteY13" fmla="*/ 1980 h 10000"/>
              <a:gd name="connsiteX14" fmla="*/ 8030 w 9946"/>
              <a:gd name="connsiteY14" fmla="*/ 1980 h 10000"/>
              <a:gd name="connsiteX15" fmla="*/ 8085 w 9946"/>
              <a:gd name="connsiteY15" fmla="*/ 2293 h 10000"/>
              <a:gd name="connsiteX16" fmla="*/ 8085 w 9946"/>
              <a:gd name="connsiteY16" fmla="*/ 9687 h 10000"/>
              <a:gd name="connsiteX17" fmla="*/ 8140 w 9946"/>
              <a:gd name="connsiteY17" fmla="*/ 10000 h 10000"/>
              <a:gd name="connsiteX18" fmla="*/ 9891 w 9946"/>
              <a:gd name="connsiteY18" fmla="*/ 10000 h 10000"/>
              <a:gd name="connsiteX19" fmla="*/ 9946 w 9946"/>
              <a:gd name="connsiteY19" fmla="*/ 9687 h 10000"/>
              <a:gd name="connsiteX20" fmla="*/ 9946 w 9946"/>
              <a:gd name="connsiteY20" fmla="*/ 6298 h 10000"/>
              <a:gd name="connsiteX0" fmla="*/ 0 w 10000"/>
              <a:gd name="connsiteY0" fmla="*/ 8333 h 10000"/>
              <a:gd name="connsiteX1" fmla="*/ 57 w 10000"/>
              <a:gd name="connsiteY1" fmla="*/ 8647 h 10000"/>
              <a:gd name="connsiteX2" fmla="*/ 2897 w 10000"/>
              <a:gd name="connsiteY2" fmla="*/ 8647 h 10000"/>
              <a:gd name="connsiteX3" fmla="*/ 2951 w 10000"/>
              <a:gd name="connsiteY3" fmla="*/ 8333 h 10000"/>
              <a:gd name="connsiteX4" fmla="*/ 2951 w 10000"/>
              <a:gd name="connsiteY4" fmla="*/ 313 h 10000"/>
              <a:gd name="connsiteX5" fmla="*/ 3007 w 10000"/>
              <a:gd name="connsiteY5" fmla="*/ 0 h 10000"/>
              <a:gd name="connsiteX6" fmla="*/ 5568 w 10000"/>
              <a:gd name="connsiteY6" fmla="*/ 0 h 10000"/>
              <a:gd name="connsiteX7" fmla="*/ 5622 w 10000"/>
              <a:gd name="connsiteY7" fmla="*/ 313 h 10000"/>
              <a:gd name="connsiteX8" fmla="*/ 5622 w 10000"/>
              <a:gd name="connsiteY8" fmla="*/ 5772 h 10000"/>
              <a:gd name="connsiteX9" fmla="*/ 5677 w 10000"/>
              <a:gd name="connsiteY9" fmla="*/ 6085 h 10000"/>
              <a:gd name="connsiteX10" fmla="*/ 6386 w 10000"/>
              <a:gd name="connsiteY10" fmla="*/ 6085 h 10000"/>
              <a:gd name="connsiteX11" fmla="*/ 6443 w 10000"/>
              <a:gd name="connsiteY11" fmla="*/ 5772 h 10000"/>
              <a:gd name="connsiteX12" fmla="*/ 6443 w 10000"/>
              <a:gd name="connsiteY12" fmla="*/ 2293 h 10000"/>
              <a:gd name="connsiteX13" fmla="*/ 6498 w 10000"/>
              <a:gd name="connsiteY13" fmla="*/ 1980 h 10000"/>
              <a:gd name="connsiteX14" fmla="*/ 8074 w 10000"/>
              <a:gd name="connsiteY14" fmla="*/ 1980 h 10000"/>
              <a:gd name="connsiteX15" fmla="*/ 8129 w 10000"/>
              <a:gd name="connsiteY15" fmla="*/ 2293 h 10000"/>
              <a:gd name="connsiteX16" fmla="*/ 8129 w 10000"/>
              <a:gd name="connsiteY16" fmla="*/ 9687 h 10000"/>
              <a:gd name="connsiteX17" fmla="*/ 8184 w 10000"/>
              <a:gd name="connsiteY17" fmla="*/ 10000 h 10000"/>
              <a:gd name="connsiteX18" fmla="*/ 9945 w 10000"/>
              <a:gd name="connsiteY18" fmla="*/ 10000 h 10000"/>
              <a:gd name="connsiteX19" fmla="*/ 10000 w 10000"/>
              <a:gd name="connsiteY19" fmla="*/ 9687 h 10000"/>
              <a:gd name="connsiteX0" fmla="*/ 0 w 9945"/>
              <a:gd name="connsiteY0" fmla="*/ 8333 h 10000"/>
              <a:gd name="connsiteX1" fmla="*/ 57 w 9945"/>
              <a:gd name="connsiteY1" fmla="*/ 8647 h 10000"/>
              <a:gd name="connsiteX2" fmla="*/ 2897 w 9945"/>
              <a:gd name="connsiteY2" fmla="*/ 8647 h 10000"/>
              <a:gd name="connsiteX3" fmla="*/ 2951 w 9945"/>
              <a:gd name="connsiteY3" fmla="*/ 8333 h 10000"/>
              <a:gd name="connsiteX4" fmla="*/ 2951 w 9945"/>
              <a:gd name="connsiteY4" fmla="*/ 313 h 10000"/>
              <a:gd name="connsiteX5" fmla="*/ 3007 w 9945"/>
              <a:gd name="connsiteY5" fmla="*/ 0 h 10000"/>
              <a:gd name="connsiteX6" fmla="*/ 5568 w 9945"/>
              <a:gd name="connsiteY6" fmla="*/ 0 h 10000"/>
              <a:gd name="connsiteX7" fmla="*/ 5622 w 9945"/>
              <a:gd name="connsiteY7" fmla="*/ 313 h 10000"/>
              <a:gd name="connsiteX8" fmla="*/ 5622 w 9945"/>
              <a:gd name="connsiteY8" fmla="*/ 5772 h 10000"/>
              <a:gd name="connsiteX9" fmla="*/ 5677 w 9945"/>
              <a:gd name="connsiteY9" fmla="*/ 6085 h 10000"/>
              <a:gd name="connsiteX10" fmla="*/ 6386 w 9945"/>
              <a:gd name="connsiteY10" fmla="*/ 6085 h 10000"/>
              <a:gd name="connsiteX11" fmla="*/ 6443 w 9945"/>
              <a:gd name="connsiteY11" fmla="*/ 5772 h 10000"/>
              <a:gd name="connsiteX12" fmla="*/ 6443 w 9945"/>
              <a:gd name="connsiteY12" fmla="*/ 2293 h 10000"/>
              <a:gd name="connsiteX13" fmla="*/ 6498 w 9945"/>
              <a:gd name="connsiteY13" fmla="*/ 1980 h 10000"/>
              <a:gd name="connsiteX14" fmla="*/ 8074 w 9945"/>
              <a:gd name="connsiteY14" fmla="*/ 1980 h 10000"/>
              <a:gd name="connsiteX15" fmla="*/ 8129 w 9945"/>
              <a:gd name="connsiteY15" fmla="*/ 2293 h 10000"/>
              <a:gd name="connsiteX16" fmla="*/ 8129 w 9945"/>
              <a:gd name="connsiteY16" fmla="*/ 9687 h 10000"/>
              <a:gd name="connsiteX17" fmla="*/ 8184 w 9945"/>
              <a:gd name="connsiteY17" fmla="*/ 10000 h 10000"/>
              <a:gd name="connsiteX18" fmla="*/ 9945 w 9945"/>
              <a:gd name="connsiteY18" fmla="*/ 10000 h 10000"/>
              <a:gd name="connsiteX0" fmla="*/ 0 w 8229"/>
              <a:gd name="connsiteY0" fmla="*/ 8333 h 10000"/>
              <a:gd name="connsiteX1" fmla="*/ 57 w 8229"/>
              <a:gd name="connsiteY1" fmla="*/ 8647 h 10000"/>
              <a:gd name="connsiteX2" fmla="*/ 2913 w 8229"/>
              <a:gd name="connsiteY2" fmla="*/ 8647 h 10000"/>
              <a:gd name="connsiteX3" fmla="*/ 2967 w 8229"/>
              <a:gd name="connsiteY3" fmla="*/ 8333 h 10000"/>
              <a:gd name="connsiteX4" fmla="*/ 2967 w 8229"/>
              <a:gd name="connsiteY4" fmla="*/ 313 h 10000"/>
              <a:gd name="connsiteX5" fmla="*/ 3024 w 8229"/>
              <a:gd name="connsiteY5" fmla="*/ 0 h 10000"/>
              <a:gd name="connsiteX6" fmla="*/ 5599 w 8229"/>
              <a:gd name="connsiteY6" fmla="*/ 0 h 10000"/>
              <a:gd name="connsiteX7" fmla="*/ 5653 w 8229"/>
              <a:gd name="connsiteY7" fmla="*/ 313 h 10000"/>
              <a:gd name="connsiteX8" fmla="*/ 5653 w 8229"/>
              <a:gd name="connsiteY8" fmla="*/ 5772 h 10000"/>
              <a:gd name="connsiteX9" fmla="*/ 5708 w 8229"/>
              <a:gd name="connsiteY9" fmla="*/ 6085 h 10000"/>
              <a:gd name="connsiteX10" fmla="*/ 6421 w 8229"/>
              <a:gd name="connsiteY10" fmla="*/ 6085 h 10000"/>
              <a:gd name="connsiteX11" fmla="*/ 6479 w 8229"/>
              <a:gd name="connsiteY11" fmla="*/ 5772 h 10000"/>
              <a:gd name="connsiteX12" fmla="*/ 6479 w 8229"/>
              <a:gd name="connsiteY12" fmla="*/ 2293 h 10000"/>
              <a:gd name="connsiteX13" fmla="*/ 6534 w 8229"/>
              <a:gd name="connsiteY13" fmla="*/ 1980 h 10000"/>
              <a:gd name="connsiteX14" fmla="*/ 8119 w 8229"/>
              <a:gd name="connsiteY14" fmla="*/ 1980 h 10000"/>
              <a:gd name="connsiteX15" fmla="*/ 8174 w 8229"/>
              <a:gd name="connsiteY15" fmla="*/ 2293 h 10000"/>
              <a:gd name="connsiteX16" fmla="*/ 8174 w 8229"/>
              <a:gd name="connsiteY16" fmla="*/ 9687 h 10000"/>
              <a:gd name="connsiteX17" fmla="*/ 8229 w 8229"/>
              <a:gd name="connsiteY17" fmla="*/ 10000 h 10000"/>
              <a:gd name="connsiteX0" fmla="*/ 0 w 9933"/>
              <a:gd name="connsiteY0" fmla="*/ 8333 h 9687"/>
              <a:gd name="connsiteX1" fmla="*/ 69 w 9933"/>
              <a:gd name="connsiteY1" fmla="*/ 8647 h 9687"/>
              <a:gd name="connsiteX2" fmla="*/ 3540 w 9933"/>
              <a:gd name="connsiteY2" fmla="*/ 8647 h 9687"/>
              <a:gd name="connsiteX3" fmla="*/ 3606 w 9933"/>
              <a:gd name="connsiteY3" fmla="*/ 8333 h 9687"/>
              <a:gd name="connsiteX4" fmla="*/ 3606 w 9933"/>
              <a:gd name="connsiteY4" fmla="*/ 313 h 9687"/>
              <a:gd name="connsiteX5" fmla="*/ 3675 w 9933"/>
              <a:gd name="connsiteY5" fmla="*/ 0 h 9687"/>
              <a:gd name="connsiteX6" fmla="*/ 6804 w 9933"/>
              <a:gd name="connsiteY6" fmla="*/ 0 h 9687"/>
              <a:gd name="connsiteX7" fmla="*/ 6870 w 9933"/>
              <a:gd name="connsiteY7" fmla="*/ 313 h 9687"/>
              <a:gd name="connsiteX8" fmla="*/ 6870 w 9933"/>
              <a:gd name="connsiteY8" fmla="*/ 5772 h 9687"/>
              <a:gd name="connsiteX9" fmla="*/ 6936 w 9933"/>
              <a:gd name="connsiteY9" fmla="*/ 6085 h 9687"/>
              <a:gd name="connsiteX10" fmla="*/ 7803 w 9933"/>
              <a:gd name="connsiteY10" fmla="*/ 6085 h 9687"/>
              <a:gd name="connsiteX11" fmla="*/ 7873 w 9933"/>
              <a:gd name="connsiteY11" fmla="*/ 5772 h 9687"/>
              <a:gd name="connsiteX12" fmla="*/ 7873 w 9933"/>
              <a:gd name="connsiteY12" fmla="*/ 2293 h 9687"/>
              <a:gd name="connsiteX13" fmla="*/ 7940 w 9933"/>
              <a:gd name="connsiteY13" fmla="*/ 1980 h 9687"/>
              <a:gd name="connsiteX14" fmla="*/ 9866 w 9933"/>
              <a:gd name="connsiteY14" fmla="*/ 1980 h 9687"/>
              <a:gd name="connsiteX15" fmla="*/ 9933 w 9933"/>
              <a:gd name="connsiteY15" fmla="*/ 2293 h 9687"/>
              <a:gd name="connsiteX16" fmla="*/ 9933 w 9933"/>
              <a:gd name="connsiteY16" fmla="*/ 9687 h 9687"/>
              <a:gd name="connsiteX0" fmla="*/ 0 w 10000"/>
              <a:gd name="connsiteY0" fmla="*/ 8602 h 8926"/>
              <a:gd name="connsiteX1" fmla="*/ 69 w 10000"/>
              <a:gd name="connsiteY1" fmla="*/ 8926 h 8926"/>
              <a:gd name="connsiteX2" fmla="*/ 3564 w 10000"/>
              <a:gd name="connsiteY2" fmla="*/ 8926 h 8926"/>
              <a:gd name="connsiteX3" fmla="*/ 3630 w 10000"/>
              <a:gd name="connsiteY3" fmla="*/ 8602 h 8926"/>
              <a:gd name="connsiteX4" fmla="*/ 3630 w 10000"/>
              <a:gd name="connsiteY4" fmla="*/ 323 h 8926"/>
              <a:gd name="connsiteX5" fmla="*/ 3700 w 10000"/>
              <a:gd name="connsiteY5" fmla="*/ 0 h 8926"/>
              <a:gd name="connsiteX6" fmla="*/ 6850 w 10000"/>
              <a:gd name="connsiteY6" fmla="*/ 0 h 8926"/>
              <a:gd name="connsiteX7" fmla="*/ 6916 w 10000"/>
              <a:gd name="connsiteY7" fmla="*/ 323 h 8926"/>
              <a:gd name="connsiteX8" fmla="*/ 6916 w 10000"/>
              <a:gd name="connsiteY8" fmla="*/ 5959 h 8926"/>
              <a:gd name="connsiteX9" fmla="*/ 6983 w 10000"/>
              <a:gd name="connsiteY9" fmla="*/ 6282 h 8926"/>
              <a:gd name="connsiteX10" fmla="*/ 7856 w 10000"/>
              <a:gd name="connsiteY10" fmla="*/ 6282 h 8926"/>
              <a:gd name="connsiteX11" fmla="*/ 7926 w 10000"/>
              <a:gd name="connsiteY11" fmla="*/ 5959 h 8926"/>
              <a:gd name="connsiteX12" fmla="*/ 7926 w 10000"/>
              <a:gd name="connsiteY12" fmla="*/ 2367 h 8926"/>
              <a:gd name="connsiteX13" fmla="*/ 7994 w 10000"/>
              <a:gd name="connsiteY13" fmla="*/ 2044 h 8926"/>
              <a:gd name="connsiteX14" fmla="*/ 9933 w 10000"/>
              <a:gd name="connsiteY14" fmla="*/ 2044 h 8926"/>
              <a:gd name="connsiteX15" fmla="*/ 10000 w 10000"/>
              <a:gd name="connsiteY15" fmla="*/ 2367 h 8926"/>
              <a:gd name="connsiteX0" fmla="*/ 0 w 10000"/>
              <a:gd name="connsiteY0" fmla="*/ 9637 h 10000"/>
              <a:gd name="connsiteX1" fmla="*/ 3564 w 10000"/>
              <a:gd name="connsiteY1" fmla="*/ 10000 h 10000"/>
              <a:gd name="connsiteX2" fmla="*/ 3630 w 10000"/>
              <a:gd name="connsiteY2" fmla="*/ 9637 h 10000"/>
              <a:gd name="connsiteX3" fmla="*/ 3630 w 10000"/>
              <a:gd name="connsiteY3" fmla="*/ 362 h 10000"/>
              <a:gd name="connsiteX4" fmla="*/ 3700 w 10000"/>
              <a:gd name="connsiteY4" fmla="*/ 0 h 10000"/>
              <a:gd name="connsiteX5" fmla="*/ 6850 w 10000"/>
              <a:gd name="connsiteY5" fmla="*/ 0 h 10000"/>
              <a:gd name="connsiteX6" fmla="*/ 6916 w 10000"/>
              <a:gd name="connsiteY6" fmla="*/ 362 h 10000"/>
              <a:gd name="connsiteX7" fmla="*/ 6916 w 10000"/>
              <a:gd name="connsiteY7" fmla="*/ 6676 h 10000"/>
              <a:gd name="connsiteX8" fmla="*/ 6983 w 10000"/>
              <a:gd name="connsiteY8" fmla="*/ 7038 h 10000"/>
              <a:gd name="connsiteX9" fmla="*/ 7856 w 10000"/>
              <a:gd name="connsiteY9" fmla="*/ 7038 h 10000"/>
              <a:gd name="connsiteX10" fmla="*/ 7926 w 10000"/>
              <a:gd name="connsiteY10" fmla="*/ 6676 h 10000"/>
              <a:gd name="connsiteX11" fmla="*/ 7926 w 10000"/>
              <a:gd name="connsiteY11" fmla="*/ 2652 h 10000"/>
              <a:gd name="connsiteX12" fmla="*/ 7994 w 10000"/>
              <a:gd name="connsiteY12" fmla="*/ 2290 h 10000"/>
              <a:gd name="connsiteX13" fmla="*/ 9933 w 10000"/>
              <a:gd name="connsiteY13" fmla="*/ 2290 h 10000"/>
              <a:gd name="connsiteX14" fmla="*/ 10000 w 10000"/>
              <a:gd name="connsiteY14" fmla="*/ 2652 h 10000"/>
              <a:gd name="connsiteX0" fmla="*/ 0 w 9777"/>
              <a:gd name="connsiteY0" fmla="*/ 10089 h 10109"/>
              <a:gd name="connsiteX1" fmla="*/ 3341 w 9777"/>
              <a:gd name="connsiteY1" fmla="*/ 10000 h 10109"/>
              <a:gd name="connsiteX2" fmla="*/ 3407 w 9777"/>
              <a:gd name="connsiteY2" fmla="*/ 9637 h 10109"/>
              <a:gd name="connsiteX3" fmla="*/ 3407 w 9777"/>
              <a:gd name="connsiteY3" fmla="*/ 362 h 10109"/>
              <a:gd name="connsiteX4" fmla="*/ 3477 w 9777"/>
              <a:gd name="connsiteY4" fmla="*/ 0 h 10109"/>
              <a:gd name="connsiteX5" fmla="*/ 6627 w 9777"/>
              <a:gd name="connsiteY5" fmla="*/ 0 h 10109"/>
              <a:gd name="connsiteX6" fmla="*/ 6693 w 9777"/>
              <a:gd name="connsiteY6" fmla="*/ 362 h 10109"/>
              <a:gd name="connsiteX7" fmla="*/ 6693 w 9777"/>
              <a:gd name="connsiteY7" fmla="*/ 6676 h 10109"/>
              <a:gd name="connsiteX8" fmla="*/ 6760 w 9777"/>
              <a:gd name="connsiteY8" fmla="*/ 7038 h 10109"/>
              <a:gd name="connsiteX9" fmla="*/ 7633 w 9777"/>
              <a:gd name="connsiteY9" fmla="*/ 7038 h 10109"/>
              <a:gd name="connsiteX10" fmla="*/ 7703 w 9777"/>
              <a:gd name="connsiteY10" fmla="*/ 6676 h 10109"/>
              <a:gd name="connsiteX11" fmla="*/ 7703 w 9777"/>
              <a:gd name="connsiteY11" fmla="*/ 2652 h 10109"/>
              <a:gd name="connsiteX12" fmla="*/ 7771 w 9777"/>
              <a:gd name="connsiteY12" fmla="*/ 2290 h 10109"/>
              <a:gd name="connsiteX13" fmla="*/ 9710 w 9777"/>
              <a:gd name="connsiteY13" fmla="*/ 2290 h 10109"/>
              <a:gd name="connsiteX14" fmla="*/ 9777 w 9777"/>
              <a:gd name="connsiteY14" fmla="*/ 2652 h 10109"/>
              <a:gd name="connsiteX0" fmla="*/ 0 w 10000"/>
              <a:gd name="connsiteY0" fmla="*/ 9855 h 9901"/>
              <a:gd name="connsiteX1" fmla="*/ 3417 w 10000"/>
              <a:gd name="connsiteY1" fmla="*/ 9892 h 9901"/>
              <a:gd name="connsiteX2" fmla="*/ 3485 w 10000"/>
              <a:gd name="connsiteY2" fmla="*/ 9533 h 9901"/>
              <a:gd name="connsiteX3" fmla="*/ 3485 w 10000"/>
              <a:gd name="connsiteY3" fmla="*/ 358 h 9901"/>
              <a:gd name="connsiteX4" fmla="*/ 3556 w 10000"/>
              <a:gd name="connsiteY4" fmla="*/ 0 h 9901"/>
              <a:gd name="connsiteX5" fmla="*/ 6778 w 10000"/>
              <a:gd name="connsiteY5" fmla="*/ 0 h 9901"/>
              <a:gd name="connsiteX6" fmla="*/ 6846 w 10000"/>
              <a:gd name="connsiteY6" fmla="*/ 358 h 9901"/>
              <a:gd name="connsiteX7" fmla="*/ 6846 w 10000"/>
              <a:gd name="connsiteY7" fmla="*/ 6604 h 9901"/>
              <a:gd name="connsiteX8" fmla="*/ 6914 w 10000"/>
              <a:gd name="connsiteY8" fmla="*/ 6962 h 9901"/>
              <a:gd name="connsiteX9" fmla="*/ 7807 w 10000"/>
              <a:gd name="connsiteY9" fmla="*/ 6962 h 9901"/>
              <a:gd name="connsiteX10" fmla="*/ 7879 w 10000"/>
              <a:gd name="connsiteY10" fmla="*/ 6604 h 9901"/>
              <a:gd name="connsiteX11" fmla="*/ 7879 w 10000"/>
              <a:gd name="connsiteY11" fmla="*/ 2623 h 9901"/>
              <a:gd name="connsiteX12" fmla="*/ 7948 w 10000"/>
              <a:gd name="connsiteY12" fmla="*/ 2265 h 9901"/>
              <a:gd name="connsiteX13" fmla="*/ 9931 w 10000"/>
              <a:gd name="connsiteY13" fmla="*/ 2265 h 9901"/>
              <a:gd name="connsiteX14" fmla="*/ 10000 w 10000"/>
              <a:gd name="connsiteY14" fmla="*/ 2623 h 9901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54 h 10038"/>
              <a:gd name="connsiteX1" fmla="*/ 3417 w 10000"/>
              <a:gd name="connsiteY1" fmla="*/ 9991 h 10038"/>
              <a:gd name="connsiteX2" fmla="*/ 3485 w 10000"/>
              <a:gd name="connsiteY2" fmla="*/ 9628 h 10038"/>
              <a:gd name="connsiteX3" fmla="*/ 3485 w 10000"/>
              <a:gd name="connsiteY3" fmla="*/ 362 h 10038"/>
              <a:gd name="connsiteX4" fmla="*/ 3556 w 10000"/>
              <a:gd name="connsiteY4" fmla="*/ 0 h 10038"/>
              <a:gd name="connsiteX5" fmla="*/ 6778 w 10000"/>
              <a:gd name="connsiteY5" fmla="*/ 0 h 10038"/>
              <a:gd name="connsiteX6" fmla="*/ 6846 w 10000"/>
              <a:gd name="connsiteY6" fmla="*/ 362 h 10038"/>
              <a:gd name="connsiteX7" fmla="*/ 6846 w 10000"/>
              <a:gd name="connsiteY7" fmla="*/ 6670 h 10038"/>
              <a:gd name="connsiteX8" fmla="*/ 6914 w 10000"/>
              <a:gd name="connsiteY8" fmla="*/ 7032 h 10038"/>
              <a:gd name="connsiteX9" fmla="*/ 7807 w 10000"/>
              <a:gd name="connsiteY9" fmla="*/ 7032 h 10038"/>
              <a:gd name="connsiteX10" fmla="*/ 7879 w 10000"/>
              <a:gd name="connsiteY10" fmla="*/ 6670 h 10038"/>
              <a:gd name="connsiteX11" fmla="*/ 7879 w 10000"/>
              <a:gd name="connsiteY11" fmla="*/ 2649 h 10038"/>
              <a:gd name="connsiteX12" fmla="*/ 7948 w 10000"/>
              <a:gd name="connsiteY12" fmla="*/ 2288 h 10038"/>
              <a:gd name="connsiteX13" fmla="*/ 9931 w 10000"/>
              <a:gd name="connsiteY13" fmla="*/ 2288 h 10038"/>
              <a:gd name="connsiteX14" fmla="*/ 10000 w 10000"/>
              <a:gd name="connsiteY14" fmla="*/ 2649 h 10038"/>
              <a:gd name="connsiteX0" fmla="*/ 0 w 10000"/>
              <a:gd name="connsiteY0" fmla="*/ 9954 h 10007"/>
              <a:gd name="connsiteX1" fmla="*/ 3417 w 10000"/>
              <a:gd name="connsiteY1" fmla="*/ 9991 h 10007"/>
              <a:gd name="connsiteX2" fmla="*/ 3485 w 10000"/>
              <a:gd name="connsiteY2" fmla="*/ 9628 h 10007"/>
              <a:gd name="connsiteX3" fmla="*/ 3485 w 10000"/>
              <a:gd name="connsiteY3" fmla="*/ 362 h 10007"/>
              <a:gd name="connsiteX4" fmla="*/ 3556 w 10000"/>
              <a:gd name="connsiteY4" fmla="*/ 0 h 10007"/>
              <a:gd name="connsiteX5" fmla="*/ 6778 w 10000"/>
              <a:gd name="connsiteY5" fmla="*/ 0 h 10007"/>
              <a:gd name="connsiteX6" fmla="*/ 6846 w 10000"/>
              <a:gd name="connsiteY6" fmla="*/ 362 h 10007"/>
              <a:gd name="connsiteX7" fmla="*/ 6846 w 10000"/>
              <a:gd name="connsiteY7" fmla="*/ 6670 h 10007"/>
              <a:gd name="connsiteX8" fmla="*/ 6914 w 10000"/>
              <a:gd name="connsiteY8" fmla="*/ 7032 h 10007"/>
              <a:gd name="connsiteX9" fmla="*/ 7807 w 10000"/>
              <a:gd name="connsiteY9" fmla="*/ 7032 h 10007"/>
              <a:gd name="connsiteX10" fmla="*/ 7879 w 10000"/>
              <a:gd name="connsiteY10" fmla="*/ 6670 h 10007"/>
              <a:gd name="connsiteX11" fmla="*/ 7879 w 10000"/>
              <a:gd name="connsiteY11" fmla="*/ 2649 h 10007"/>
              <a:gd name="connsiteX12" fmla="*/ 7948 w 10000"/>
              <a:gd name="connsiteY12" fmla="*/ 2288 h 10007"/>
              <a:gd name="connsiteX13" fmla="*/ 9931 w 10000"/>
              <a:gd name="connsiteY13" fmla="*/ 2288 h 10007"/>
              <a:gd name="connsiteX14" fmla="*/ 10000 w 10000"/>
              <a:gd name="connsiteY14" fmla="*/ 2649 h 10007"/>
              <a:gd name="connsiteX0" fmla="*/ 0 w 10000"/>
              <a:gd name="connsiteY0" fmla="*/ 9972 h 10018"/>
              <a:gd name="connsiteX1" fmla="*/ 3417 w 10000"/>
              <a:gd name="connsiteY1" fmla="*/ 9991 h 10018"/>
              <a:gd name="connsiteX2" fmla="*/ 3485 w 10000"/>
              <a:gd name="connsiteY2" fmla="*/ 9628 h 10018"/>
              <a:gd name="connsiteX3" fmla="*/ 3485 w 10000"/>
              <a:gd name="connsiteY3" fmla="*/ 362 h 10018"/>
              <a:gd name="connsiteX4" fmla="*/ 3556 w 10000"/>
              <a:gd name="connsiteY4" fmla="*/ 0 h 10018"/>
              <a:gd name="connsiteX5" fmla="*/ 6778 w 10000"/>
              <a:gd name="connsiteY5" fmla="*/ 0 h 10018"/>
              <a:gd name="connsiteX6" fmla="*/ 6846 w 10000"/>
              <a:gd name="connsiteY6" fmla="*/ 362 h 10018"/>
              <a:gd name="connsiteX7" fmla="*/ 6846 w 10000"/>
              <a:gd name="connsiteY7" fmla="*/ 6670 h 10018"/>
              <a:gd name="connsiteX8" fmla="*/ 6914 w 10000"/>
              <a:gd name="connsiteY8" fmla="*/ 7032 h 10018"/>
              <a:gd name="connsiteX9" fmla="*/ 7807 w 10000"/>
              <a:gd name="connsiteY9" fmla="*/ 7032 h 10018"/>
              <a:gd name="connsiteX10" fmla="*/ 7879 w 10000"/>
              <a:gd name="connsiteY10" fmla="*/ 6670 h 10018"/>
              <a:gd name="connsiteX11" fmla="*/ 7879 w 10000"/>
              <a:gd name="connsiteY11" fmla="*/ 2649 h 10018"/>
              <a:gd name="connsiteX12" fmla="*/ 7948 w 10000"/>
              <a:gd name="connsiteY12" fmla="*/ 2288 h 10018"/>
              <a:gd name="connsiteX13" fmla="*/ 9931 w 10000"/>
              <a:gd name="connsiteY13" fmla="*/ 2288 h 10018"/>
              <a:gd name="connsiteX14" fmla="*/ 10000 w 10000"/>
              <a:gd name="connsiteY14" fmla="*/ 2649 h 10018"/>
              <a:gd name="connsiteX0" fmla="*/ 0 w 10000"/>
              <a:gd name="connsiteY0" fmla="*/ 9972 h 9991"/>
              <a:gd name="connsiteX1" fmla="*/ 3417 w 10000"/>
              <a:gd name="connsiteY1" fmla="*/ 9991 h 9991"/>
              <a:gd name="connsiteX2" fmla="*/ 3485 w 10000"/>
              <a:gd name="connsiteY2" fmla="*/ 9628 h 9991"/>
              <a:gd name="connsiteX3" fmla="*/ 3485 w 10000"/>
              <a:gd name="connsiteY3" fmla="*/ 362 h 9991"/>
              <a:gd name="connsiteX4" fmla="*/ 3556 w 10000"/>
              <a:gd name="connsiteY4" fmla="*/ 0 h 9991"/>
              <a:gd name="connsiteX5" fmla="*/ 6778 w 10000"/>
              <a:gd name="connsiteY5" fmla="*/ 0 h 9991"/>
              <a:gd name="connsiteX6" fmla="*/ 6846 w 10000"/>
              <a:gd name="connsiteY6" fmla="*/ 362 h 9991"/>
              <a:gd name="connsiteX7" fmla="*/ 6846 w 10000"/>
              <a:gd name="connsiteY7" fmla="*/ 6670 h 9991"/>
              <a:gd name="connsiteX8" fmla="*/ 6914 w 10000"/>
              <a:gd name="connsiteY8" fmla="*/ 7032 h 9991"/>
              <a:gd name="connsiteX9" fmla="*/ 7807 w 10000"/>
              <a:gd name="connsiteY9" fmla="*/ 7032 h 9991"/>
              <a:gd name="connsiteX10" fmla="*/ 7879 w 10000"/>
              <a:gd name="connsiteY10" fmla="*/ 6670 h 9991"/>
              <a:gd name="connsiteX11" fmla="*/ 7879 w 10000"/>
              <a:gd name="connsiteY11" fmla="*/ 2649 h 9991"/>
              <a:gd name="connsiteX12" fmla="*/ 7948 w 10000"/>
              <a:gd name="connsiteY12" fmla="*/ 2288 h 9991"/>
              <a:gd name="connsiteX13" fmla="*/ 9931 w 10000"/>
              <a:gd name="connsiteY13" fmla="*/ 2288 h 9991"/>
              <a:gd name="connsiteX14" fmla="*/ 10000 w 10000"/>
              <a:gd name="connsiteY14" fmla="*/ 2649 h 9991"/>
              <a:gd name="connsiteX0" fmla="*/ 0 w 10000"/>
              <a:gd name="connsiteY0" fmla="*/ 10008 h 10015"/>
              <a:gd name="connsiteX1" fmla="*/ 3417 w 10000"/>
              <a:gd name="connsiteY1" fmla="*/ 10000 h 10015"/>
              <a:gd name="connsiteX2" fmla="*/ 3485 w 10000"/>
              <a:gd name="connsiteY2" fmla="*/ 9637 h 10015"/>
              <a:gd name="connsiteX3" fmla="*/ 3485 w 10000"/>
              <a:gd name="connsiteY3" fmla="*/ 362 h 10015"/>
              <a:gd name="connsiteX4" fmla="*/ 3556 w 10000"/>
              <a:gd name="connsiteY4" fmla="*/ 0 h 10015"/>
              <a:gd name="connsiteX5" fmla="*/ 6778 w 10000"/>
              <a:gd name="connsiteY5" fmla="*/ 0 h 10015"/>
              <a:gd name="connsiteX6" fmla="*/ 6846 w 10000"/>
              <a:gd name="connsiteY6" fmla="*/ 362 h 10015"/>
              <a:gd name="connsiteX7" fmla="*/ 6846 w 10000"/>
              <a:gd name="connsiteY7" fmla="*/ 6676 h 10015"/>
              <a:gd name="connsiteX8" fmla="*/ 6914 w 10000"/>
              <a:gd name="connsiteY8" fmla="*/ 7038 h 10015"/>
              <a:gd name="connsiteX9" fmla="*/ 7807 w 10000"/>
              <a:gd name="connsiteY9" fmla="*/ 7038 h 10015"/>
              <a:gd name="connsiteX10" fmla="*/ 7879 w 10000"/>
              <a:gd name="connsiteY10" fmla="*/ 6676 h 10015"/>
              <a:gd name="connsiteX11" fmla="*/ 7879 w 10000"/>
              <a:gd name="connsiteY11" fmla="*/ 2651 h 10015"/>
              <a:gd name="connsiteX12" fmla="*/ 7948 w 10000"/>
              <a:gd name="connsiteY12" fmla="*/ 2290 h 10015"/>
              <a:gd name="connsiteX13" fmla="*/ 9931 w 10000"/>
              <a:gd name="connsiteY13" fmla="*/ 2290 h 10015"/>
              <a:gd name="connsiteX14" fmla="*/ 10000 w 10000"/>
              <a:gd name="connsiteY14" fmla="*/ 2651 h 10015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9931 w 10000"/>
              <a:gd name="connsiteY13" fmla="*/ 2290 h 10008"/>
              <a:gd name="connsiteX14" fmla="*/ 10000 w 10000"/>
              <a:gd name="connsiteY14" fmla="*/ 2651 h 10008"/>
              <a:gd name="connsiteX0" fmla="*/ 0 w 10000"/>
              <a:gd name="connsiteY0" fmla="*/ 10008 h 10008"/>
              <a:gd name="connsiteX1" fmla="*/ 3417 w 10000"/>
              <a:gd name="connsiteY1" fmla="*/ 10000 h 10008"/>
              <a:gd name="connsiteX2" fmla="*/ 3485 w 10000"/>
              <a:gd name="connsiteY2" fmla="*/ 9637 h 10008"/>
              <a:gd name="connsiteX3" fmla="*/ 3485 w 10000"/>
              <a:gd name="connsiteY3" fmla="*/ 362 h 10008"/>
              <a:gd name="connsiteX4" fmla="*/ 3556 w 10000"/>
              <a:gd name="connsiteY4" fmla="*/ 0 h 10008"/>
              <a:gd name="connsiteX5" fmla="*/ 6778 w 10000"/>
              <a:gd name="connsiteY5" fmla="*/ 0 h 10008"/>
              <a:gd name="connsiteX6" fmla="*/ 6846 w 10000"/>
              <a:gd name="connsiteY6" fmla="*/ 362 h 10008"/>
              <a:gd name="connsiteX7" fmla="*/ 6846 w 10000"/>
              <a:gd name="connsiteY7" fmla="*/ 6676 h 10008"/>
              <a:gd name="connsiteX8" fmla="*/ 6914 w 10000"/>
              <a:gd name="connsiteY8" fmla="*/ 7038 h 10008"/>
              <a:gd name="connsiteX9" fmla="*/ 7807 w 10000"/>
              <a:gd name="connsiteY9" fmla="*/ 7038 h 10008"/>
              <a:gd name="connsiteX10" fmla="*/ 7879 w 10000"/>
              <a:gd name="connsiteY10" fmla="*/ 6676 h 10008"/>
              <a:gd name="connsiteX11" fmla="*/ 7879 w 10000"/>
              <a:gd name="connsiteY11" fmla="*/ 2651 h 10008"/>
              <a:gd name="connsiteX12" fmla="*/ 7948 w 10000"/>
              <a:gd name="connsiteY12" fmla="*/ 2290 h 10008"/>
              <a:gd name="connsiteX13" fmla="*/ 10000 w 10000"/>
              <a:gd name="connsiteY13" fmla="*/ 2651 h 10008"/>
              <a:gd name="connsiteX0" fmla="*/ 0 w 9969"/>
              <a:gd name="connsiteY0" fmla="*/ 10008 h 10008"/>
              <a:gd name="connsiteX1" fmla="*/ 3417 w 9969"/>
              <a:gd name="connsiteY1" fmla="*/ 10000 h 10008"/>
              <a:gd name="connsiteX2" fmla="*/ 3485 w 9969"/>
              <a:gd name="connsiteY2" fmla="*/ 9637 h 10008"/>
              <a:gd name="connsiteX3" fmla="*/ 3485 w 9969"/>
              <a:gd name="connsiteY3" fmla="*/ 362 h 10008"/>
              <a:gd name="connsiteX4" fmla="*/ 3556 w 9969"/>
              <a:gd name="connsiteY4" fmla="*/ 0 h 10008"/>
              <a:gd name="connsiteX5" fmla="*/ 6778 w 9969"/>
              <a:gd name="connsiteY5" fmla="*/ 0 h 10008"/>
              <a:gd name="connsiteX6" fmla="*/ 6846 w 9969"/>
              <a:gd name="connsiteY6" fmla="*/ 362 h 10008"/>
              <a:gd name="connsiteX7" fmla="*/ 6846 w 9969"/>
              <a:gd name="connsiteY7" fmla="*/ 6676 h 10008"/>
              <a:gd name="connsiteX8" fmla="*/ 6914 w 9969"/>
              <a:gd name="connsiteY8" fmla="*/ 7038 h 10008"/>
              <a:gd name="connsiteX9" fmla="*/ 7807 w 9969"/>
              <a:gd name="connsiteY9" fmla="*/ 7038 h 10008"/>
              <a:gd name="connsiteX10" fmla="*/ 7879 w 9969"/>
              <a:gd name="connsiteY10" fmla="*/ 6676 h 10008"/>
              <a:gd name="connsiteX11" fmla="*/ 7879 w 9969"/>
              <a:gd name="connsiteY11" fmla="*/ 2651 h 10008"/>
              <a:gd name="connsiteX12" fmla="*/ 7948 w 9969"/>
              <a:gd name="connsiteY12" fmla="*/ 2290 h 10008"/>
              <a:gd name="connsiteX13" fmla="*/ 9969 w 9969"/>
              <a:gd name="connsiteY13" fmla="*/ 2271 h 10008"/>
              <a:gd name="connsiteX0" fmla="*/ 0 w 9995"/>
              <a:gd name="connsiteY0" fmla="*/ 10000 h 10000"/>
              <a:gd name="connsiteX1" fmla="*/ 3428 w 9995"/>
              <a:gd name="connsiteY1" fmla="*/ 9992 h 10000"/>
              <a:gd name="connsiteX2" fmla="*/ 3496 w 9995"/>
              <a:gd name="connsiteY2" fmla="*/ 9629 h 10000"/>
              <a:gd name="connsiteX3" fmla="*/ 3496 w 9995"/>
              <a:gd name="connsiteY3" fmla="*/ 362 h 10000"/>
              <a:gd name="connsiteX4" fmla="*/ 3567 w 9995"/>
              <a:gd name="connsiteY4" fmla="*/ 0 h 10000"/>
              <a:gd name="connsiteX5" fmla="*/ 6799 w 9995"/>
              <a:gd name="connsiteY5" fmla="*/ 0 h 10000"/>
              <a:gd name="connsiteX6" fmla="*/ 6867 w 9995"/>
              <a:gd name="connsiteY6" fmla="*/ 362 h 10000"/>
              <a:gd name="connsiteX7" fmla="*/ 6867 w 9995"/>
              <a:gd name="connsiteY7" fmla="*/ 6671 h 10000"/>
              <a:gd name="connsiteX8" fmla="*/ 6936 w 9995"/>
              <a:gd name="connsiteY8" fmla="*/ 7032 h 10000"/>
              <a:gd name="connsiteX9" fmla="*/ 7831 w 9995"/>
              <a:gd name="connsiteY9" fmla="*/ 7032 h 10000"/>
              <a:gd name="connsiteX10" fmla="*/ 7904 w 9995"/>
              <a:gd name="connsiteY10" fmla="*/ 6671 h 10000"/>
              <a:gd name="connsiteX11" fmla="*/ 7904 w 9995"/>
              <a:gd name="connsiteY11" fmla="*/ 2649 h 10000"/>
              <a:gd name="connsiteX12" fmla="*/ 7973 w 9995"/>
              <a:gd name="connsiteY12" fmla="*/ 2288 h 10000"/>
              <a:gd name="connsiteX13" fmla="*/ 9995 w 9995"/>
              <a:gd name="connsiteY13" fmla="*/ 2377 h 10000"/>
              <a:gd name="connsiteX0" fmla="*/ 0 w 10000"/>
              <a:gd name="connsiteY0" fmla="*/ 10000 h 10000"/>
              <a:gd name="connsiteX1" fmla="*/ 3430 w 10000"/>
              <a:gd name="connsiteY1" fmla="*/ 9992 h 10000"/>
              <a:gd name="connsiteX2" fmla="*/ 3498 w 10000"/>
              <a:gd name="connsiteY2" fmla="*/ 9629 h 10000"/>
              <a:gd name="connsiteX3" fmla="*/ 3498 w 10000"/>
              <a:gd name="connsiteY3" fmla="*/ 362 h 10000"/>
              <a:gd name="connsiteX4" fmla="*/ 3569 w 10000"/>
              <a:gd name="connsiteY4" fmla="*/ 0 h 10000"/>
              <a:gd name="connsiteX5" fmla="*/ 6802 w 10000"/>
              <a:gd name="connsiteY5" fmla="*/ 0 h 10000"/>
              <a:gd name="connsiteX6" fmla="*/ 6870 w 10000"/>
              <a:gd name="connsiteY6" fmla="*/ 362 h 10000"/>
              <a:gd name="connsiteX7" fmla="*/ 6870 w 10000"/>
              <a:gd name="connsiteY7" fmla="*/ 6671 h 10000"/>
              <a:gd name="connsiteX8" fmla="*/ 6939 w 10000"/>
              <a:gd name="connsiteY8" fmla="*/ 7032 h 10000"/>
              <a:gd name="connsiteX9" fmla="*/ 7835 w 10000"/>
              <a:gd name="connsiteY9" fmla="*/ 7032 h 10000"/>
              <a:gd name="connsiteX10" fmla="*/ 7908 w 10000"/>
              <a:gd name="connsiteY10" fmla="*/ 6671 h 10000"/>
              <a:gd name="connsiteX11" fmla="*/ 7908 w 10000"/>
              <a:gd name="connsiteY11" fmla="*/ 2649 h 10000"/>
              <a:gd name="connsiteX12" fmla="*/ 7977 w 10000"/>
              <a:gd name="connsiteY12" fmla="*/ 2288 h 10000"/>
              <a:gd name="connsiteX13" fmla="*/ 10000 w 10000"/>
              <a:gd name="connsiteY13" fmla="*/ 2296 h 10000"/>
              <a:gd name="connsiteX0" fmla="*/ 0 w 10049"/>
              <a:gd name="connsiteY0" fmla="*/ 10000 h 10000"/>
              <a:gd name="connsiteX1" fmla="*/ 3479 w 10049"/>
              <a:gd name="connsiteY1" fmla="*/ 9992 h 10000"/>
              <a:gd name="connsiteX2" fmla="*/ 3547 w 10049"/>
              <a:gd name="connsiteY2" fmla="*/ 9629 h 10000"/>
              <a:gd name="connsiteX3" fmla="*/ 3547 w 10049"/>
              <a:gd name="connsiteY3" fmla="*/ 362 h 10000"/>
              <a:gd name="connsiteX4" fmla="*/ 3618 w 10049"/>
              <a:gd name="connsiteY4" fmla="*/ 0 h 10000"/>
              <a:gd name="connsiteX5" fmla="*/ 6851 w 10049"/>
              <a:gd name="connsiteY5" fmla="*/ 0 h 10000"/>
              <a:gd name="connsiteX6" fmla="*/ 6919 w 10049"/>
              <a:gd name="connsiteY6" fmla="*/ 362 h 10000"/>
              <a:gd name="connsiteX7" fmla="*/ 6919 w 10049"/>
              <a:gd name="connsiteY7" fmla="*/ 6671 h 10000"/>
              <a:gd name="connsiteX8" fmla="*/ 6988 w 10049"/>
              <a:gd name="connsiteY8" fmla="*/ 7032 h 10000"/>
              <a:gd name="connsiteX9" fmla="*/ 7884 w 10049"/>
              <a:gd name="connsiteY9" fmla="*/ 7032 h 10000"/>
              <a:gd name="connsiteX10" fmla="*/ 7957 w 10049"/>
              <a:gd name="connsiteY10" fmla="*/ 6671 h 10000"/>
              <a:gd name="connsiteX11" fmla="*/ 7957 w 10049"/>
              <a:gd name="connsiteY11" fmla="*/ 2649 h 10000"/>
              <a:gd name="connsiteX12" fmla="*/ 8026 w 10049"/>
              <a:gd name="connsiteY12" fmla="*/ 2288 h 10000"/>
              <a:gd name="connsiteX13" fmla="*/ 10049 w 10049"/>
              <a:gd name="connsiteY13" fmla="*/ 2296 h 10000"/>
              <a:gd name="connsiteX0" fmla="*/ 0 w 10007"/>
              <a:gd name="connsiteY0" fmla="*/ 10000 h 10000"/>
              <a:gd name="connsiteX1" fmla="*/ 3437 w 10007"/>
              <a:gd name="connsiteY1" fmla="*/ 9992 h 10000"/>
              <a:gd name="connsiteX2" fmla="*/ 3505 w 10007"/>
              <a:gd name="connsiteY2" fmla="*/ 9629 h 10000"/>
              <a:gd name="connsiteX3" fmla="*/ 3505 w 10007"/>
              <a:gd name="connsiteY3" fmla="*/ 362 h 10000"/>
              <a:gd name="connsiteX4" fmla="*/ 3576 w 10007"/>
              <a:gd name="connsiteY4" fmla="*/ 0 h 10000"/>
              <a:gd name="connsiteX5" fmla="*/ 6809 w 10007"/>
              <a:gd name="connsiteY5" fmla="*/ 0 h 10000"/>
              <a:gd name="connsiteX6" fmla="*/ 6877 w 10007"/>
              <a:gd name="connsiteY6" fmla="*/ 362 h 10000"/>
              <a:gd name="connsiteX7" fmla="*/ 6877 w 10007"/>
              <a:gd name="connsiteY7" fmla="*/ 6671 h 10000"/>
              <a:gd name="connsiteX8" fmla="*/ 6946 w 10007"/>
              <a:gd name="connsiteY8" fmla="*/ 7032 h 10000"/>
              <a:gd name="connsiteX9" fmla="*/ 7842 w 10007"/>
              <a:gd name="connsiteY9" fmla="*/ 7032 h 10000"/>
              <a:gd name="connsiteX10" fmla="*/ 7915 w 10007"/>
              <a:gd name="connsiteY10" fmla="*/ 6671 h 10000"/>
              <a:gd name="connsiteX11" fmla="*/ 7915 w 10007"/>
              <a:gd name="connsiteY11" fmla="*/ 2649 h 10000"/>
              <a:gd name="connsiteX12" fmla="*/ 7984 w 10007"/>
              <a:gd name="connsiteY12" fmla="*/ 2288 h 10000"/>
              <a:gd name="connsiteX13" fmla="*/ 10007 w 10007"/>
              <a:gd name="connsiteY13" fmla="*/ 229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0007" h="10000">
                <a:moveTo>
                  <a:pt x="0" y="10000"/>
                </a:moveTo>
                <a:lnTo>
                  <a:pt x="3437" y="9992"/>
                </a:lnTo>
                <a:cubicBezTo>
                  <a:pt x="3474" y="9992"/>
                  <a:pt x="3505" y="9824"/>
                  <a:pt x="3505" y="9629"/>
                </a:cubicBezTo>
                <a:lnTo>
                  <a:pt x="3505" y="362"/>
                </a:lnTo>
                <a:cubicBezTo>
                  <a:pt x="3505" y="168"/>
                  <a:pt x="3536" y="0"/>
                  <a:pt x="3576" y="0"/>
                </a:cubicBezTo>
                <a:lnTo>
                  <a:pt x="6809" y="0"/>
                </a:lnTo>
                <a:cubicBezTo>
                  <a:pt x="6845" y="0"/>
                  <a:pt x="6877" y="168"/>
                  <a:pt x="6877" y="362"/>
                </a:cubicBezTo>
                <a:lnTo>
                  <a:pt x="6877" y="6671"/>
                </a:lnTo>
                <a:cubicBezTo>
                  <a:pt x="6877" y="6865"/>
                  <a:pt x="6906" y="7032"/>
                  <a:pt x="6946" y="7032"/>
                </a:cubicBezTo>
                <a:lnTo>
                  <a:pt x="7842" y="7032"/>
                </a:lnTo>
                <a:cubicBezTo>
                  <a:pt x="7883" y="7032"/>
                  <a:pt x="7915" y="6865"/>
                  <a:pt x="7915" y="6671"/>
                </a:cubicBezTo>
                <a:lnTo>
                  <a:pt x="7915" y="2649"/>
                </a:lnTo>
                <a:cubicBezTo>
                  <a:pt x="7915" y="2443"/>
                  <a:pt x="7943" y="2288"/>
                  <a:pt x="7984" y="2288"/>
                </a:cubicBezTo>
                <a:lnTo>
                  <a:pt x="10007" y="2296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Freeform 8"/>
          <p:cNvSpPr>
            <a:spLocks/>
          </p:cNvSpPr>
          <p:nvPr userDrawn="1"/>
        </p:nvSpPr>
        <p:spPr bwMode="gray">
          <a:xfrm>
            <a:off x="-10278" y="5966252"/>
            <a:ext cx="9157459" cy="323466"/>
          </a:xfrm>
          <a:custGeom>
            <a:avLst/>
            <a:gdLst>
              <a:gd name="T0" fmla="*/ 0 w 8480"/>
              <a:gd name="T1" fmla="*/ 0 h 144"/>
              <a:gd name="T2" fmla="*/ 776 w 8480"/>
              <a:gd name="T3" fmla="*/ 0 h 144"/>
              <a:gd name="T4" fmla="*/ 804 w 8480"/>
              <a:gd name="T5" fmla="*/ 28 h 144"/>
              <a:gd name="T6" fmla="*/ 804 w 8480"/>
              <a:gd name="T7" fmla="*/ 114 h 144"/>
              <a:gd name="T8" fmla="*/ 831 w 8480"/>
              <a:gd name="T9" fmla="*/ 142 h 144"/>
              <a:gd name="T10" fmla="*/ 2854 w 8480"/>
              <a:gd name="T11" fmla="*/ 142 h 144"/>
              <a:gd name="T12" fmla="*/ 2882 w 8480"/>
              <a:gd name="T13" fmla="*/ 114 h 144"/>
              <a:gd name="T14" fmla="*/ 2882 w 8480"/>
              <a:gd name="T15" fmla="*/ 28 h 144"/>
              <a:gd name="T16" fmla="*/ 2910 w 8480"/>
              <a:gd name="T17" fmla="*/ 0 h 144"/>
              <a:gd name="T18" fmla="*/ 6767 w 8480"/>
              <a:gd name="T19" fmla="*/ 0 h 144"/>
              <a:gd name="T20" fmla="*/ 6795 w 8480"/>
              <a:gd name="T21" fmla="*/ 28 h 144"/>
              <a:gd name="T22" fmla="*/ 6795 w 8480"/>
              <a:gd name="T23" fmla="*/ 116 h 144"/>
              <a:gd name="T24" fmla="*/ 6823 w 8480"/>
              <a:gd name="T25" fmla="*/ 144 h 144"/>
              <a:gd name="T26" fmla="*/ 8480 w 8480"/>
              <a:gd name="T27" fmla="*/ 144 h 144"/>
              <a:gd name="connsiteX0" fmla="*/ 0 w 9085"/>
              <a:gd name="connsiteY0" fmla="*/ 0 h 10000"/>
              <a:gd name="connsiteX1" fmla="*/ 33 w 9085"/>
              <a:gd name="connsiteY1" fmla="*/ 1944 h 10000"/>
              <a:gd name="connsiteX2" fmla="*/ 33 w 9085"/>
              <a:gd name="connsiteY2" fmla="*/ 7917 h 10000"/>
              <a:gd name="connsiteX3" fmla="*/ 65 w 9085"/>
              <a:gd name="connsiteY3" fmla="*/ 9861 h 10000"/>
              <a:gd name="connsiteX4" fmla="*/ 2451 w 9085"/>
              <a:gd name="connsiteY4" fmla="*/ 9861 h 10000"/>
              <a:gd name="connsiteX5" fmla="*/ 2484 w 9085"/>
              <a:gd name="connsiteY5" fmla="*/ 7917 h 10000"/>
              <a:gd name="connsiteX6" fmla="*/ 2484 w 9085"/>
              <a:gd name="connsiteY6" fmla="*/ 1944 h 10000"/>
              <a:gd name="connsiteX7" fmla="*/ 2517 w 9085"/>
              <a:gd name="connsiteY7" fmla="*/ 0 h 10000"/>
              <a:gd name="connsiteX8" fmla="*/ 7065 w 9085"/>
              <a:gd name="connsiteY8" fmla="*/ 0 h 10000"/>
              <a:gd name="connsiteX9" fmla="*/ 7098 w 9085"/>
              <a:gd name="connsiteY9" fmla="*/ 1944 h 10000"/>
              <a:gd name="connsiteX10" fmla="*/ 7098 w 9085"/>
              <a:gd name="connsiteY10" fmla="*/ 8056 h 10000"/>
              <a:gd name="connsiteX11" fmla="*/ 7131 w 9085"/>
              <a:gd name="connsiteY11" fmla="*/ 10000 h 10000"/>
              <a:gd name="connsiteX12" fmla="*/ 9085 w 9085"/>
              <a:gd name="connsiteY12" fmla="*/ 10000 h 10000"/>
              <a:gd name="connsiteX0" fmla="*/ 0 w 9964"/>
              <a:gd name="connsiteY0" fmla="*/ 1944 h 10000"/>
              <a:gd name="connsiteX1" fmla="*/ 0 w 9964"/>
              <a:gd name="connsiteY1" fmla="*/ 7917 h 10000"/>
              <a:gd name="connsiteX2" fmla="*/ 36 w 9964"/>
              <a:gd name="connsiteY2" fmla="*/ 9861 h 10000"/>
              <a:gd name="connsiteX3" fmla="*/ 2662 w 9964"/>
              <a:gd name="connsiteY3" fmla="*/ 9861 h 10000"/>
              <a:gd name="connsiteX4" fmla="*/ 2698 w 9964"/>
              <a:gd name="connsiteY4" fmla="*/ 7917 h 10000"/>
              <a:gd name="connsiteX5" fmla="*/ 2698 w 9964"/>
              <a:gd name="connsiteY5" fmla="*/ 1944 h 10000"/>
              <a:gd name="connsiteX6" fmla="*/ 2735 w 9964"/>
              <a:gd name="connsiteY6" fmla="*/ 0 h 10000"/>
              <a:gd name="connsiteX7" fmla="*/ 7741 w 9964"/>
              <a:gd name="connsiteY7" fmla="*/ 0 h 10000"/>
              <a:gd name="connsiteX8" fmla="*/ 7777 w 9964"/>
              <a:gd name="connsiteY8" fmla="*/ 1944 h 10000"/>
              <a:gd name="connsiteX9" fmla="*/ 7777 w 9964"/>
              <a:gd name="connsiteY9" fmla="*/ 8056 h 10000"/>
              <a:gd name="connsiteX10" fmla="*/ 7813 w 9964"/>
              <a:gd name="connsiteY10" fmla="*/ 10000 h 10000"/>
              <a:gd name="connsiteX11" fmla="*/ 9964 w 9964"/>
              <a:gd name="connsiteY11" fmla="*/ 10000 h 10000"/>
              <a:gd name="connsiteX0" fmla="*/ 0 w 10000"/>
              <a:gd name="connsiteY0" fmla="*/ 7917 h 10000"/>
              <a:gd name="connsiteX1" fmla="*/ 36 w 10000"/>
              <a:gd name="connsiteY1" fmla="*/ 9861 h 10000"/>
              <a:gd name="connsiteX2" fmla="*/ 2672 w 10000"/>
              <a:gd name="connsiteY2" fmla="*/ 9861 h 10000"/>
              <a:gd name="connsiteX3" fmla="*/ 2708 w 10000"/>
              <a:gd name="connsiteY3" fmla="*/ 7917 h 10000"/>
              <a:gd name="connsiteX4" fmla="*/ 2708 w 10000"/>
              <a:gd name="connsiteY4" fmla="*/ 1944 h 10000"/>
              <a:gd name="connsiteX5" fmla="*/ 2745 w 10000"/>
              <a:gd name="connsiteY5" fmla="*/ 0 h 10000"/>
              <a:gd name="connsiteX6" fmla="*/ 7769 w 10000"/>
              <a:gd name="connsiteY6" fmla="*/ 0 h 10000"/>
              <a:gd name="connsiteX7" fmla="*/ 7805 w 10000"/>
              <a:gd name="connsiteY7" fmla="*/ 1944 h 10000"/>
              <a:gd name="connsiteX8" fmla="*/ 7805 w 10000"/>
              <a:gd name="connsiteY8" fmla="*/ 8056 h 10000"/>
              <a:gd name="connsiteX9" fmla="*/ 7841 w 10000"/>
              <a:gd name="connsiteY9" fmla="*/ 10000 h 10000"/>
              <a:gd name="connsiteX10" fmla="*/ 10000 w 10000"/>
              <a:gd name="connsiteY10" fmla="*/ 10000 h 10000"/>
              <a:gd name="connsiteX0" fmla="*/ 0 w 9964"/>
              <a:gd name="connsiteY0" fmla="*/ 9861 h 10000"/>
              <a:gd name="connsiteX1" fmla="*/ 2636 w 9964"/>
              <a:gd name="connsiteY1" fmla="*/ 9861 h 10000"/>
              <a:gd name="connsiteX2" fmla="*/ 2672 w 9964"/>
              <a:gd name="connsiteY2" fmla="*/ 7917 h 10000"/>
              <a:gd name="connsiteX3" fmla="*/ 2672 w 9964"/>
              <a:gd name="connsiteY3" fmla="*/ 1944 h 10000"/>
              <a:gd name="connsiteX4" fmla="*/ 2709 w 9964"/>
              <a:gd name="connsiteY4" fmla="*/ 0 h 10000"/>
              <a:gd name="connsiteX5" fmla="*/ 7733 w 9964"/>
              <a:gd name="connsiteY5" fmla="*/ 0 h 10000"/>
              <a:gd name="connsiteX6" fmla="*/ 7769 w 9964"/>
              <a:gd name="connsiteY6" fmla="*/ 1944 h 10000"/>
              <a:gd name="connsiteX7" fmla="*/ 7769 w 9964"/>
              <a:gd name="connsiteY7" fmla="*/ 8056 h 10000"/>
              <a:gd name="connsiteX8" fmla="*/ 7805 w 9964"/>
              <a:gd name="connsiteY8" fmla="*/ 10000 h 10000"/>
              <a:gd name="connsiteX9" fmla="*/ 9964 w 9964"/>
              <a:gd name="connsiteY9" fmla="*/ 10000 h 10000"/>
              <a:gd name="connsiteX0" fmla="*/ 0 w 7833"/>
              <a:gd name="connsiteY0" fmla="*/ 9861 h 10000"/>
              <a:gd name="connsiteX1" fmla="*/ 2646 w 7833"/>
              <a:gd name="connsiteY1" fmla="*/ 9861 h 10000"/>
              <a:gd name="connsiteX2" fmla="*/ 2682 w 7833"/>
              <a:gd name="connsiteY2" fmla="*/ 7917 h 10000"/>
              <a:gd name="connsiteX3" fmla="*/ 2682 w 7833"/>
              <a:gd name="connsiteY3" fmla="*/ 1944 h 10000"/>
              <a:gd name="connsiteX4" fmla="*/ 2719 w 7833"/>
              <a:gd name="connsiteY4" fmla="*/ 0 h 10000"/>
              <a:gd name="connsiteX5" fmla="*/ 7761 w 7833"/>
              <a:gd name="connsiteY5" fmla="*/ 0 h 10000"/>
              <a:gd name="connsiteX6" fmla="*/ 7797 w 7833"/>
              <a:gd name="connsiteY6" fmla="*/ 1944 h 10000"/>
              <a:gd name="connsiteX7" fmla="*/ 7797 w 7833"/>
              <a:gd name="connsiteY7" fmla="*/ 8056 h 10000"/>
              <a:gd name="connsiteX8" fmla="*/ 7833 w 7833"/>
              <a:gd name="connsiteY8" fmla="*/ 10000 h 10000"/>
              <a:gd name="connsiteX0" fmla="*/ 0 w 9954"/>
              <a:gd name="connsiteY0" fmla="*/ 9861 h 9861"/>
              <a:gd name="connsiteX1" fmla="*/ 3378 w 9954"/>
              <a:gd name="connsiteY1" fmla="*/ 9861 h 9861"/>
              <a:gd name="connsiteX2" fmla="*/ 3424 w 9954"/>
              <a:gd name="connsiteY2" fmla="*/ 7917 h 9861"/>
              <a:gd name="connsiteX3" fmla="*/ 3424 w 9954"/>
              <a:gd name="connsiteY3" fmla="*/ 1944 h 9861"/>
              <a:gd name="connsiteX4" fmla="*/ 3471 w 9954"/>
              <a:gd name="connsiteY4" fmla="*/ 0 h 9861"/>
              <a:gd name="connsiteX5" fmla="*/ 9908 w 9954"/>
              <a:gd name="connsiteY5" fmla="*/ 0 h 9861"/>
              <a:gd name="connsiteX6" fmla="*/ 9954 w 9954"/>
              <a:gd name="connsiteY6" fmla="*/ 1944 h 9861"/>
              <a:gd name="connsiteX7" fmla="*/ 9954 w 9954"/>
              <a:gd name="connsiteY7" fmla="*/ 8056 h 9861"/>
              <a:gd name="connsiteX0" fmla="*/ 0 w 10000"/>
              <a:gd name="connsiteY0" fmla="*/ 10000 h 10000"/>
              <a:gd name="connsiteX1" fmla="*/ 3394 w 10000"/>
              <a:gd name="connsiteY1" fmla="*/ 10000 h 10000"/>
              <a:gd name="connsiteX2" fmla="*/ 3440 w 10000"/>
              <a:gd name="connsiteY2" fmla="*/ 8029 h 10000"/>
              <a:gd name="connsiteX3" fmla="*/ 3440 w 10000"/>
              <a:gd name="connsiteY3" fmla="*/ 1971 h 10000"/>
              <a:gd name="connsiteX4" fmla="*/ 3487 w 10000"/>
              <a:gd name="connsiteY4" fmla="*/ 0 h 10000"/>
              <a:gd name="connsiteX5" fmla="*/ 9954 w 10000"/>
              <a:gd name="connsiteY5" fmla="*/ 0 h 10000"/>
              <a:gd name="connsiteX6" fmla="*/ 10000 w 10000"/>
              <a:gd name="connsiteY6" fmla="*/ 1971 h 10000"/>
              <a:gd name="connsiteX0" fmla="*/ 0 w 7965"/>
              <a:gd name="connsiteY0" fmla="*/ 9803 h 10000"/>
              <a:gd name="connsiteX1" fmla="*/ 1359 w 7965"/>
              <a:gd name="connsiteY1" fmla="*/ 10000 h 10000"/>
              <a:gd name="connsiteX2" fmla="*/ 1405 w 7965"/>
              <a:gd name="connsiteY2" fmla="*/ 8029 h 10000"/>
              <a:gd name="connsiteX3" fmla="*/ 1405 w 7965"/>
              <a:gd name="connsiteY3" fmla="*/ 1971 h 10000"/>
              <a:gd name="connsiteX4" fmla="*/ 1452 w 7965"/>
              <a:gd name="connsiteY4" fmla="*/ 0 h 10000"/>
              <a:gd name="connsiteX5" fmla="*/ 7919 w 7965"/>
              <a:gd name="connsiteY5" fmla="*/ 0 h 10000"/>
              <a:gd name="connsiteX6" fmla="*/ 7965 w 7965"/>
              <a:gd name="connsiteY6" fmla="*/ 1971 h 10000"/>
              <a:gd name="connsiteX0" fmla="*/ 0 w 10000"/>
              <a:gd name="connsiteY0" fmla="*/ 9803 h 10000"/>
              <a:gd name="connsiteX1" fmla="*/ 1706 w 10000"/>
              <a:gd name="connsiteY1" fmla="*/ 10000 h 10000"/>
              <a:gd name="connsiteX2" fmla="*/ 1764 w 10000"/>
              <a:gd name="connsiteY2" fmla="*/ 8029 h 10000"/>
              <a:gd name="connsiteX3" fmla="*/ 1764 w 10000"/>
              <a:gd name="connsiteY3" fmla="*/ 1971 h 10000"/>
              <a:gd name="connsiteX4" fmla="*/ 1823 w 10000"/>
              <a:gd name="connsiteY4" fmla="*/ 0 h 10000"/>
              <a:gd name="connsiteX5" fmla="*/ 9942 w 10000"/>
              <a:gd name="connsiteY5" fmla="*/ 0 h 10000"/>
              <a:gd name="connsiteX6" fmla="*/ 10000 w 10000"/>
              <a:gd name="connsiteY6" fmla="*/ 1971 h 10000"/>
              <a:gd name="connsiteX0" fmla="*/ 0 w 9295"/>
              <a:gd name="connsiteY0" fmla="*/ 9803 h 10000"/>
              <a:gd name="connsiteX1" fmla="*/ 1001 w 9295"/>
              <a:gd name="connsiteY1" fmla="*/ 10000 h 10000"/>
              <a:gd name="connsiteX2" fmla="*/ 1059 w 9295"/>
              <a:gd name="connsiteY2" fmla="*/ 8029 h 10000"/>
              <a:gd name="connsiteX3" fmla="*/ 1059 w 9295"/>
              <a:gd name="connsiteY3" fmla="*/ 1971 h 10000"/>
              <a:gd name="connsiteX4" fmla="*/ 1118 w 9295"/>
              <a:gd name="connsiteY4" fmla="*/ 0 h 10000"/>
              <a:gd name="connsiteX5" fmla="*/ 9237 w 9295"/>
              <a:gd name="connsiteY5" fmla="*/ 0 h 10000"/>
              <a:gd name="connsiteX6" fmla="*/ 9295 w 9295"/>
              <a:gd name="connsiteY6" fmla="*/ 1971 h 10000"/>
              <a:gd name="connsiteX0" fmla="*/ 0 w 10000"/>
              <a:gd name="connsiteY0" fmla="*/ 10246 h 10246"/>
              <a:gd name="connsiteX1" fmla="*/ 1077 w 10000"/>
              <a:gd name="connsiteY1" fmla="*/ 10000 h 10246"/>
              <a:gd name="connsiteX2" fmla="*/ 1139 w 10000"/>
              <a:gd name="connsiteY2" fmla="*/ 8029 h 10246"/>
              <a:gd name="connsiteX3" fmla="*/ 1139 w 10000"/>
              <a:gd name="connsiteY3" fmla="*/ 1971 h 10246"/>
              <a:gd name="connsiteX4" fmla="*/ 1203 w 10000"/>
              <a:gd name="connsiteY4" fmla="*/ 0 h 10246"/>
              <a:gd name="connsiteX5" fmla="*/ 9938 w 10000"/>
              <a:gd name="connsiteY5" fmla="*/ 0 h 10246"/>
              <a:gd name="connsiteX6" fmla="*/ 10000 w 10000"/>
              <a:gd name="connsiteY6" fmla="*/ 1971 h 10246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9938 w 10000"/>
              <a:gd name="connsiteY5" fmla="*/ 0 h 10000"/>
              <a:gd name="connsiteX6" fmla="*/ 10000 w 10000"/>
              <a:gd name="connsiteY6" fmla="*/ 1971 h 10000"/>
              <a:gd name="connsiteX0" fmla="*/ 0 w 10000"/>
              <a:gd name="connsiteY0" fmla="*/ 9951 h 10000"/>
              <a:gd name="connsiteX1" fmla="*/ 1077 w 10000"/>
              <a:gd name="connsiteY1" fmla="*/ 10000 h 10000"/>
              <a:gd name="connsiteX2" fmla="*/ 1139 w 10000"/>
              <a:gd name="connsiteY2" fmla="*/ 8029 h 10000"/>
              <a:gd name="connsiteX3" fmla="*/ 1139 w 10000"/>
              <a:gd name="connsiteY3" fmla="*/ 1971 h 10000"/>
              <a:gd name="connsiteX4" fmla="*/ 1203 w 10000"/>
              <a:gd name="connsiteY4" fmla="*/ 0 h 10000"/>
              <a:gd name="connsiteX5" fmla="*/ 10000 w 10000"/>
              <a:gd name="connsiteY5" fmla="*/ 1971 h 10000"/>
              <a:gd name="connsiteX0" fmla="*/ 0 w 8215"/>
              <a:gd name="connsiteY0" fmla="*/ 12209 h 12258"/>
              <a:gd name="connsiteX1" fmla="*/ 1077 w 8215"/>
              <a:gd name="connsiteY1" fmla="*/ 12258 h 12258"/>
              <a:gd name="connsiteX2" fmla="*/ 1139 w 8215"/>
              <a:gd name="connsiteY2" fmla="*/ 10287 h 12258"/>
              <a:gd name="connsiteX3" fmla="*/ 1139 w 8215"/>
              <a:gd name="connsiteY3" fmla="*/ 4229 h 12258"/>
              <a:gd name="connsiteX4" fmla="*/ 1203 w 8215"/>
              <a:gd name="connsiteY4" fmla="*/ 2258 h 12258"/>
              <a:gd name="connsiteX5" fmla="*/ 8215 w 8215"/>
              <a:gd name="connsiteY5" fmla="*/ 0 h 12258"/>
              <a:gd name="connsiteX0" fmla="*/ 0 w 10000"/>
              <a:gd name="connsiteY0" fmla="*/ 8195 h 8235"/>
              <a:gd name="connsiteX1" fmla="*/ 1311 w 10000"/>
              <a:gd name="connsiteY1" fmla="*/ 8235 h 8235"/>
              <a:gd name="connsiteX2" fmla="*/ 1386 w 10000"/>
              <a:gd name="connsiteY2" fmla="*/ 6627 h 8235"/>
              <a:gd name="connsiteX3" fmla="*/ 1386 w 10000"/>
              <a:gd name="connsiteY3" fmla="*/ 1685 h 8235"/>
              <a:gd name="connsiteX4" fmla="*/ 1464 w 10000"/>
              <a:gd name="connsiteY4" fmla="*/ 77 h 8235"/>
              <a:gd name="connsiteX5" fmla="*/ 10000 w 10000"/>
              <a:gd name="connsiteY5" fmla="*/ 0 h 8235"/>
              <a:gd name="connsiteX0" fmla="*/ 0 w 10000"/>
              <a:gd name="connsiteY0" fmla="*/ 9951 h 10000"/>
              <a:gd name="connsiteX1" fmla="*/ 1311 w 10000"/>
              <a:gd name="connsiteY1" fmla="*/ 10000 h 10000"/>
              <a:gd name="connsiteX2" fmla="*/ 1386 w 10000"/>
              <a:gd name="connsiteY2" fmla="*/ 8047 h 10000"/>
              <a:gd name="connsiteX3" fmla="*/ 1386 w 10000"/>
              <a:gd name="connsiteY3" fmla="*/ 2046 h 10000"/>
              <a:gd name="connsiteX4" fmla="*/ 1464 w 10000"/>
              <a:gd name="connsiteY4" fmla="*/ 94 h 10000"/>
              <a:gd name="connsiteX5" fmla="*/ 10000 w 10000"/>
              <a:gd name="connsiteY5" fmla="*/ 0 h 10000"/>
              <a:gd name="connsiteX0" fmla="*/ 0 w 9993"/>
              <a:gd name="connsiteY0" fmla="*/ 9857 h 9906"/>
              <a:gd name="connsiteX1" fmla="*/ 1311 w 9993"/>
              <a:gd name="connsiteY1" fmla="*/ 9906 h 9906"/>
              <a:gd name="connsiteX2" fmla="*/ 1386 w 9993"/>
              <a:gd name="connsiteY2" fmla="*/ 7953 h 9906"/>
              <a:gd name="connsiteX3" fmla="*/ 1386 w 9993"/>
              <a:gd name="connsiteY3" fmla="*/ 1952 h 9906"/>
              <a:gd name="connsiteX4" fmla="*/ 1464 w 9993"/>
              <a:gd name="connsiteY4" fmla="*/ 0 h 9906"/>
              <a:gd name="connsiteX5" fmla="*/ 9993 w 9993"/>
              <a:gd name="connsiteY5" fmla="*/ 101 h 9906"/>
              <a:gd name="connsiteX0" fmla="*/ 0 w 10007"/>
              <a:gd name="connsiteY0" fmla="*/ 10439 h 10488"/>
              <a:gd name="connsiteX1" fmla="*/ 1312 w 10007"/>
              <a:gd name="connsiteY1" fmla="*/ 10488 h 10488"/>
              <a:gd name="connsiteX2" fmla="*/ 1387 w 10007"/>
              <a:gd name="connsiteY2" fmla="*/ 8516 h 10488"/>
              <a:gd name="connsiteX3" fmla="*/ 1387 w 10007"/>
              <a:gd name="connsiteY3" fmla="*/ 2459 h 10488"/>
              <a:gd name="connsiteX4" fmla="*/ 1465 w 10007"/>
              <a:gd name="connsiteY4" fmla="*/ 488 h 10488"/>
              <a:gd name="connsiteX5" fmla="*/ 10007 w 10007"/>
              <a:gd name="connsiteY5" fmla="*/ 0 h 10488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1480 h 10000"/>
              <a:gd name="connsiteX0" fmla="*/ 0 w 10007"/>
              <a:gd name="connsiteY0" fmla="*/ 9951 h 10000"/>
              <a:gd name="connsiteX1" fmla="*/ 1312 w 10007"/>
              <a:gd name="connsiteY1" fmla="*/ 10000 h 10000"/>
              <a:gd name="connsiteX2" fmla="*/ 1387 w 10007"/>
              <a:gd name="connsiteY2" fmla="*/ 8028 h 10000"/>
              <a:gd name="connsiteX3" fmla="*/ 1387 w 10007"/>
              <a:gd name="connsiteY3" fmla="*/ 1971 h 10000"/>
              <a:gd name="connsiteX4" fmla="*/ 1465 w 10007"/>
              <a:gd name="connsiteY4" fmla="*/ 0 h 10000"/>
              <a:gd name="connsiteX5" fmla="*/ 10007 w 10007"/>
              <a:gd name="connsiteY5" fmla="*/ 496 h 10000"/>
              <a:gd name="connsiteX0" fmla="*/ 0 w 10021"/>
              <a:gd name="connsiteY0" fmla="*/ 10045 h 10094"/>
              <a:gd name="connsiteX1" fmla="*/ 1312 w 10021"/>
              <a:gd name="connsiteY1" fmla="*/ 10094 h 10094"/>
              <a:gd name="connsiteX2" fmla="*/ 1387 w 10021"/>
              <a:gd name="connsiteY2" fmla="*/ 8122 h 10094"/>
              <a:gd name="connsiteX3" fmla="*/ 1387 w 10021"/>
              <a:gd name="connsiteY3" fmla="*/ 2065 h 10094"/>
              <a:gd name="connsiteX4" fmla="*/ 1465 w 10021"/>
              <a:gd name="connsiteY4" fmla="*/ 94 h 10094"/>
              <a:gd name="connsiteX5" fmla="*/ 10021 w 10021"/>
              <a:gd name="connsiteY5" fmla="*/ 0 h 10094"/>
              <a:gd name="connsiteX0" fmla="*/ 0 w 10021"/>
              <a:gd name="connsiteY0" fmla="*/ 10438 h 10487"/>
              <a:gd name="connsiteX1" fmla="*/ 1312 w 10021"/>
              <a:gd name="connsiteY1" fmla="*/ 10487 h 10487"/>
              <a:gd name="connsiteX2" fmla="*/ 1387 w 10021"/>
              <a:gd name="connsiteY2" fmla="*/ 8515 h 10487"/>
              <a:gd name="connsiteX3" fmla="*/ 1387 w 10021"/>
              <a:gd name="connsiteY3" fmla="*/ 2458 h 10487"/>
              <a:gd name="connsiteX4" fmla="*/ 1465 w 10021"/>
              <a:gd name="connsiteY4" fmla="*/ 487 h 10487"/>
              <a:gd name="connsiteX5" fmla="*/ 10021 w 10021"/>
              <a:gd name="connsiteY5" fmla="*/ 0 h 10487"/>
              <a:gd name="connsiteX0" fmla="*/ 0 w 10021"/>
              <a:gd name="connsiteY0" fmla="*/ 9951 h 10000"/>
              <a:gd name="connsiteX1" fmla="*/ 1312 w 10021"/>
              <a:gd name="connsiteY1" fmla="*/ 10000 h 10000"/>
              <a:gd name="connsiteX2" fmla="*/ 1387 w 10021"/>
              <a:gd name="connsiteY2" fmla="*/ 8028 h 10000"/>
              <a:gd name="connsiteX3" fmla="*/ 1387 w 10021"/>
              <a:gd name="connsiteY3" fmla="*/ 1971 h 10000"/>
              <a:gd name="connsiteX4" fmla="*/ 1465 w 10021"/>
              <a:gd name="connsiteY4" fmla="*/ 0 h 10000"/>
              <a:gd name="connsiteX5" fmla="*/ 10021 w 10021"/>
              <a:gd name="connsiteY5" fmla="*/ 300 h 10000"/>
              <a:gd name="connsiteX0" fmla="*/ 0 w 10021"/>
              <a:gd name="connsiteY0" fmla="*/ 10241 h 10290"/>
              <a:gd name="connsiteX1" fmla="*/ 1312 w 10021"/>
              <a:gd name="connsiteY1" fmla="*/ 10290 h 10290"/>
              <a:gd name="connsiteX2" fmla="*/ 1387 w 10021"/>
              <a:gd name="connsiteY2" fmla="*/ 8318 h 10290"/>
              <a:gd name="connsiteX3" fmla="*/ 1387 w 10021"/>
              <a:gd name="connsiteY3" fmla="*/ 2261 h 10290"/>
              <a:gd name="connsiteX4" fmla="*/ 1465 w 10021"/>
              <a:gd name="connsiteY4" fmla="*/ 290 h 10290"/>
              <a:gd name="connsiteX5" fmla="*/ 10021 w 10021"/>
              <a:gd name="connsiteY5" fmla="*/ 0 h 10290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217"/>
              <a:gd name="connsiteX1" fmla="*/ 1312 w 10018"/>
              <a:gd name="connsiteY1" fmla="*/ 10217 h 10217"/>
              <a:gd name="connsiteX2" fmla="*/ 1387 w 10018"/>
              <a:gd name="connsiteY2" fmla="*/ 8097 h 10217"/>
              <a:gd name="connsiteX3" fmla="*/ 1387 w 10018"/>
              <a:gd name="connsiteY3" fmla="*/ 2040 h 10217"/>
              <a:gd name="connsiteX4" fmla="*/ 1465 w 10018"/>
              <a:gd name="connsiteY4" fmla="*/ 69 h 10217"/>
              <a:gd name="connsiteX5" fmla="*/ 10018 w 10018"/>
              <a:gd name="connsiteY5" fmla="*/ 0 h 10217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12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12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12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69"/>
              <a:gd name="connsiteX1" fmla="*/ 1309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9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4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4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142"/>
              <a:gd name="connsiteX1" fmla="*/ 1304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142"/>
              <a:gd name="connsiteX1" fmla="*/ 1309 w 10018"/>
              <a:gd name="connsiteY1" fmla="*/ 10142 h 10142"/>
              <a:gd name="connsiteX2" fmla="*/ 1387 w 10018"/>
              <a:gd name="connsiteY2" fmla="*/ 8097 h 10142"/>
              <a:gd name="connsiteX3" fmla="*/ 1387 w 10018"/>
              <a:gd name="connsiteY3" fmla="*/ 2040 h 10142"/>
              <a:gd name="connsiteX4" fmla="*/ 1465 w 10018"/>
              <a:gd name="connsiteY4" fmla="*/ 69 h 10142"/>
              <a:gd name="connsiteX5" fmla="*/ 10018 w 10018"/>
              <a:gd name="connsiteY5" fmla="*/ 0 h 10142"/>
              <a:gd name="connsiteX0" fmla="*/ 0 w 10018"/>
              <a:gd name="connsiteY0" fmla="*/ 10020 h 10020"/>
              <a:gd name="connsiteX1" fmla="*/ 1309 w 10018"/>
              <a:gd name="connsiteY1" fmla="*/ 9921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298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290"/>
              <a:gd name="connsiteX1" fmla="*/ 1301 w 10018"/>
              <a:gd name="connsiteY1" fmla="*/ 10290 h 10290"/>
              <a:gd name="connsiteX2" fmla="*/ 1387 w 10018"/>
              <a:gd name="connsiteY2" fmla="*/ 8097 h 10290"/>
              <a:gd name="connsiteX3" fmla="*/ 1387 w 10018"/>
              <a:gd name="connsiteY3" fmla="*/ 2040 h 10290"/>
              <a:gd name="connsiteX4" fmla="*/ 1465 w 10018"/>
              <a:gd name="connsiteY4" fmla="*/ 69 h 10290"/>
              <a:gd name="connsiteX5" fmla="*/ 10018 w 10018"/>
              <a:gd name="connsiteY5" fmla="*/ 0 h 10290"/>
              <a:gd name="connsiteX0" fmla="*/ 0 w 10018"/>
              <a:gd name="connsiteY0" fmla="*/ 10020 h 10020"/>
              <a:gd name="connsiteX1" fmla="*/ 1301 w 10018"/>
              <a:gd name="connsiteY1" fmla="*/ 9995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9"/>
              <a:gd name="connsiteX1" fmla="*/ 1301 w 10018"/>
              <a:gd name="connsiteY1" fmla="*/ 10069 h 10069"/>
              <a:gd name="connsiteX2" fmla="*/ 1387 w 10018"/>
              <a:gd name="connsiteY2" fmla="*/ 8097 h 10069"/>
              <a:gd name="connsiteX3" fmla="*/ 1387 w 10018"/>
              <a:gd name="connsiteY3" fmla="*/ 2040 h 10069"/>
              <a:gd name="connsiteX4" fmla="*/ 1465 w 10018"/>
              <a:gd name="connsiteY4" fmla="*/ 69 h 10069"/>
              <a:gd name="connsiteX5" fmla="*/ 10018 w 10018"/>
              <a:gd name="connsiteY5" fmla="*/ 0 h 10069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70 w 10088"/>
              <a:gd name="connsiteY0" fmla="*/ 10020 h 10069"/>
              <a:gd name="connsiteX1" fmla="*/ 1371 w 10088"/>
              <a:gd name="connsiteY1" fmla="*/ 10069 h 10069"/>
              <a:gd name="connsiteX2" fmla="*/ 1457 w 10088"/>
              <a:gd name="connsiteY2" fmla="*/ 8097 h 10069"/>
              <a:gd name="connsiteX3" fmla="*/ 1457 w 10088"/>
              <a:gd name="connsiteY3" fmla="*/ 2040 h 10069"/>
              <a:gd name="connsiteX4" fmla="*/ 1535 w 10088"/>
              <a:gd name="connsiteY4" fmla="*/ 69 h 10069"/>
              <a:gd name="connsiteX5" fmla="*/ 10088 w 10088"/>
              <a:gd name="connsiteY5" fmla="*/ 0 h 10069"/>
              <a:gd name="connsiteX0" fmla="*/ 46 w 10064"/>
              <a:gd name="connsiteY0" fmla="*/ 10020 h 10230"/>
              <a:gd name="connsiteX1" fmla="*/ 1347 w 10064"/>
              <a:gd name="connsiteY1" fmla="*/ 10069 h 10230"/>
              <a:gd name="connsiteX2" fmla="*/ 1433 w 10064"/>
              <a:gd name="connsiteY2" fmla="*/ 8097 h 10230"/>
              <a:gd name="connsiteX3" fmla="*/ 1433 w 10064"/>
              <a:gd name="connsiteY3" fmla="*/ 2040 h 10230"/>
              <a:gd name="connsiteX4" fmla="*/ 1511 w 10064"/>
              <a:gd name="connsiteY4" fmla="*/ 69 h 10230"/>
              <a:gd name="connsiteX5" fmla="*/ 10064 w 10064"/>
              <a:gd name="connsiteY5" fmla="*/ 0 h 10230"/>
              <a:gd name="connsiteX0" fmla="*/ 50 w 10068"/>
              <a:gd name="connsiteY0" fmla="*/ 10020 h 10133"/>
              <a:gd name="connsiteX1" fmla="*/ 1351 w 10068"/>
              <a:gd name="connsiteY1" fmla="*/ 10069 h 10133"/>
              <a:gd name="connsiteX2" fmla="*/ 1437 w 10068"/>
              <a:gd name="connsiteY2" fmla="*/ 8097 h 10133"/>
              <a:gd name="connsiteX3" fmla="*/ 1437 w 10068"/>
              <a:gd name="connsiteY3" fmla="*/ 2040 h 10133"/>
              <a:gd name="connsiteX4" fmla="*/ 1515 w 10068"/>
              <a:gd name="connsiteY4" fmla="*/ 69 h 10133"/>
              <a:gd name="connsiteX5" fmla="*/ 10068 w 10068"/>
              <a:gd name="connsiteY5" fmla="*/ 0 h 1013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0 w 10018"/>
              <a:gd name="connsiteY0" fmla="*/ 10020 h 10073"/>
              <a:gd name="connsiteX1" fmla="*/ 1301 w 10018"/>
              <a:gd name="connsiteY1" fmla="*/ 10069 h 10073"/>
              <a:gd name="connsiteX2" fmla="*/ 1387 w 10018"/>
              <a:gd name="connsiteY2" fmla="*/ 8097 h 10073"/>
              <a:gd name="connsiteX3" fmla="*/ 1387 w 10018"/>
              <a:gd name="connsiteY3" fmla="*/ 2040 h 10073"/>
              <a:gd name="connsiteX4" fmla="*/ 1465 w 10018"/>
              <a:gd name="connsiteY4" fmla="*/ 69 h 10073"/>
              <a:gd name="connsiteX5" fmla="*/ 10018 w 10018"/>
              <a:gd name="connsiteY5" fmla="*/ 0 h 10073"/>
              <a:gd name="connsiteX0" fmla="*/ 3 w 10021"/>
              <a:gd name="connsiteY0" fmla="*/ 10020 h 10069"/>
              <a:gd name="connsiteX1" fmla="*/ 1304 w 10021"/>
              <a:gd name="connsiteY1" fmla="*/ 10069 h 10069"/>
              <a:gd name="connsiteX2" fmla="*/ 1390 w 10021"/>
              <a:gd name="connsiteY2" fmla="*/ 8097 h 10069"/>
              <a:gd name="connsiteX3" fmla="*/ 1390 w 10021"/>
              <a:gd name="connsiteY3" fmla="*/ 2040 h 10069"/>
              <a:gd name="connsiteX4" fmla="*/ 1468 w 10021"/>
              <a:gd name="connsiteY4" fmla="*/ 69 h 10069"/>
              <a:gd name="connsiteX5" fmla="*/ 10021 w 10021"/>
              <a:gd name="connsiteY5" fmla="*/ 0 h 10069"/>
              <a:gd name="connsiteX0" fmla="*/ 3 w 10021"/>
              <a:gd name="connsiteY0" fmla="*/ 10020 h 10217"/>
              <a:gd name="connsiteX1" fmla="*/ 1304 w 10021"/>
              <a:gd name="connsiteY1" fmla="*/ 10217 h 10217"/>
              <a:gd name="connsiteX2" fmla="*/ 1390 w 10021"/>
              <a:gd name="connsiteY2" fmla="*/ 8097 h 10217"/>
              <a:gd name="connsiteX3" fmla="*/ 1390 w 10021"/>
              <a:gd name="connsiteY3" fmla="*/ 2040 h 10217"/>
              <a:gd name="connsiteX4" fmla="*/ 1468 w 10021"/>
              <a:gd name="connsiteY4" fmla="*/ 69 h 10217"/>
              <a:gd name="connsiteX5" fmla="*/ 10021 w 10021"/>
              <a:gd name="connsiteY5" fmla="*/ 0 h 10217"/>
              <a:gd name="connsiteX0" fmla="*/ 3 w 10021"/>
              <a:gd name="connsiteY0" fmla="*/ 10020 h 10020"/>
              <a:gd name="connsiteX1" fmla="*/ 1304 w 10021"/>
              <a:gd name="connsiteY1" fmla="*/ 9996 h 10020"/>
              <a:gd name="connsiteX2" fmla="*/ 1390 w 10021"/>
              <a:gd name="connsiteY2" fmla="*/ 8097 h 10020"/>
              <a:gd name="connsiteX3" fmla="*/ 1390 w 10021"/>
              <a:gd name="connsiteY3" fmla="*/ 2040 h 10020"/>
              <a:gd name="connsiteX4" fmla="*/ 1468 w 10021"/>
              <a:gd name="connsiteY4" fmla="*/ 69 h 10020"/>
              <a:gd name="connsiteX5" fmla="*/ 10021 w 10021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4"/>
              <a:gd name="connsiteX1" fmla="*/ 1301 w 10018"/>
              <a:gd name="connsiteY1" fmla="*/ 9996 h 10064"/>
              <a:gd name="connsiteX2" fmla="*/ 1387 w 10018"/>
              <a:gd name="connsiteY2" fmla="*/ 8097 h 10064"/>
              <a:gd name="connsiteX3" fmla="*/ 1387 w 10018"/>
              <a:gd name="connsiteY3" fmla="*/ 2040 h 10064"/>
              <a:gd name="connsiteX4" fmla="*/ 1465 w 10018"/>
              <a:gd name="connsiteY4" fmla="*/ 69 h 10064"/>
              <a:gd name="connsiteX5" fmla="*/ 10018 w 10018"/>
              <a:gd name="connsiteY5" fmla="*/ 0 h 10064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47"/>
              <a:gd name="connsiteX1" fmla="*/ 1301 w 10018"/>
              <a:gd name="connsiteY1" fmla="*/ 9996 h 10047"/>
              <a:gd name="connsiteX2" fmla="*/ 1387 w 10018"/>
              <a:gd name="connsiteY2" fmla="*/ 8097 h 10047"/>
              <a:gd name="connsiteX3" fmla="*/ 1387 w 10018"/>
              <a:gd name="connsiteY3" fmla="*/ 2040 h 10047"/>
              <a:gd name="connsiteX4" fmla="*/ 1465 w 10018"/>
              <a:gd name="connsiteY4" fmla="*/ 69 h 10047"/>
              <a:gd name="connsiteX5" fmla="*/ 10018 w 10018"/>
              <a:gd name="connsiteY5" fmla="*/ 0 h 10047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68"/>
              <a:gd name="connsiteX1" fmla="*/ 1301 w 10018"/>
              <a:gd name="connsiteY1" fmla="*/ 9996 h 10068"/>
              <a:gd name="connsiteX2" fmla="*/ 1387 w 10018"/>
              <a:gd name="connsiteY2" fmla="*/ 8097 h 10068"/>
              <a:gd name="connsiteX3" fmla="*/ 1387 w 10018"/>
              <a:gd name="connsiteY3" fmla="*/ 2040 h 10068"/>
              <a:gd name="connsiteX4" fmla="*/ 1465 w 10018"/>
              <a:gd name="connsiteY4" fmla="*/ 69 h 10068"/>
              <a:gd name="connsiteX5" fmla="*/ 10018 w 10018"/>
              <a:gd name="connsiteY5" fmla="*/ 0 h 10068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  <a:gd name="connsiteX0" fmla="*/ 0 w 10018"/>
              <a:gd name="connsiteY0" fmla="*/ 10020 h 10020"/>
              <a:gd name="connsiteX1" fmla="*/ 1301 w 10018"/>
              <a:gd name="connsiteY1" fmla="*/ 9996 h 10020"/>
              <a:gd name="connsiteX2" fmla="*/ 1387 w 10018"/>
              <a:gd name="connsiteY2" fmla="*/ 8097 h 10020"/>
              <a:gd name="connsiteX3" fmla="*/ 1387 w 10018"/>
              <a:gd name="connsiteY3" fmla="*/ 2040 h 10020"/>
              <a:gd name="connsiteX4" fmla="*/ 1465 w 10018"/>
              <a:gd name="connsiteY4" fmla="*/ 69 h 10020"/>
              <a:gd name="connsiteX5" fmla="*/ 10018 w 10018"/>
              <a:gd name="connsiteY5" fmla="*/ 0 h 10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18" h="10020">
                <a:moveTo>
                  <a:pt x="0" y="10020"/>
                </a:moveTo>
                <a:cubicBezTo>
                  <a:pt x="522" y="10020"/>
                  <a:pt x="1266" y="9996"/>
                  <a:pt x="1301" y="9996"/>
                </a:cubicBezTo>
                <a:cubicBezTo>
                  <a:pt x="1344" y="9996"/>
                  <a:pt x="1387" y="9224"/>
                  <a:pt x="1387" y="8097"/>
                </a:cubicBezTo>
                <a:lnTo>
                  <a:pt x="1387" y="2040"/>
                </a:lnTo>
                <a:cubicBezTo>
                  <a:pt x="1387" y="913"/>
                  <a:pt x="1424" y="69"/>
                  <a:pt x="1465" y="69"/>
                </a:cubicBezTo>
                <a:lnTo>
                  <a:pt x="10018" y="0"/>
                </a:ln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16334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7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6935788" cy="407828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8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0-07</a:t>
            </a:fld>
            <a:endParaRPr lang="sv-SE"/>
          </a:p>
        </p:txBody>
      </p:sp>
      <p:sp>
        <p:nvSpPr>
          <p:cNvPr id="9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1826639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8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0-07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342031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1619250" y="1582739"/>
            <a:ext cx="3312790" cy="407828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8" name="Platshållare för diagram 7"/>
          <p:cNvSpPr>
            <a:spLocks noGrp="1"/>
          </p:cNvSpPr>
          <p:nvPr>
            <p:ph type="chart" sz="quarter" idx="13"/>
          </p:nvPr>
        </p:nvSpPr>
        <p:spPr>
          <a:xfrm>
            <a:off x="5226050" y="1582740"/>
            <a:ext cx="3328988" cy="4078286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r>
              <a:rPr lang="sv-SE"/>
              <a:t>Klicka på ikonen för att lägga till ett diagram</a:t>
            </a:r>
            <a:endParaRPr lang="en-GB"/>
          </a:p>
        </p:txBody>
      </p:sp>
      <p:sp>
        <p:nvSpPr>
          <p:cNvPr id="9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0-07</a:t>
            </a:fld>
            <a:endParaRPr lang="sv-SE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2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14957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/>
          <p:cNvSpPr>
            <a:spLocks noGrp="1"/>
          </p:cNvSpPr>
          <p:nvPr>
            <p:ph type="pic" sz="quarter" idx="13"/>
          </p:nvPr>
        </p:nvSpPr>
        <p:spPr>
          <a:xfrm>
            <a:off x="5226050" y="1582739"/>
            <a:ext cx="3328988" cy="407828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 dirty="0"/>
          </a:p>
        </p:txBody>
      </p:sp>
      <p:sp>
        <p:nvSpPr>
          <p:cNvPr id="8" name="Platshållare för bild 8"/>
          <p:cNvSpPr>
            <a:spLocks noGrp="1"/>
          </p:cNvSpPr>
          <p:nvPr>
            <p:ph type="pic" sz="quarter" idx="14"/>
          </p:nvPr>
        </p:nvSpPr>
        <p:spPr>
          <a:xfrm>
            <a:off x="1619250" y="1582739"/>
            <a:ext cx="3328988" cy="407828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 dirty="0"/>
          </a:p>
        </p:txBody>
      </p:sp>
      <p:sp>
        <p:nvSpPr>
          <p:cNvPr id="10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11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0-07</a:t>
            </a:fld>
            <a:endParaRPr lang="sv-SE"/>
          </a:p>
        </p:txBody>
      </p:sp>
      <p:sp>
        <p:nvSpPr>
          <p:cNvPr id="1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073696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-10639" y="1582739"/>
            <a:ext cx="9208426" cy="4713858"/>
          </a:xfrm>
          <a:custGeom>
            <a:avLst/>
            <a:gdLst>
              <a:gd name="connsiteX0" fmla="*/ 708568 w 9144000"/>
              <a:gd name="connsiteY0" fmla="*/ 0 h 4251325"/>
              <a:gd name="connsiteX1" fmla="*/ 9144000 w 9144000"/>
              <a:gd name="connsiteY1" fmla="*/ 0 h 4251325"/>
              <a:gd name="connsiteX2" fmla="*/ 9144000 w 9144000"/>
              <a:gd name="connsiteY2" fmla="*/ 0 h 4251325"/>
              <a:gd name="connsiteX3" fmla="*/ 9144000 w 9144000"/>
              <a:gd name="connsiteY3" fmla="*/ 3542757 h 4251325"/>
              <a:gd name="connsiteX4" fmla="*/ 8435432 w 9144000"/>
              <a:gd name="connsiteY4" fmla="*/ 4251325 h 4251325"/>
              <a:gd name="connsiteX5" fmla="*/ 0 w 9144000"/>
              <a:gd name="connsiteY5" fmla="*/ 4251325 h 4251325"/>
              <a:gd name="connsiteX6" fmla="*/ 0 w 9144000"/>
              <a:gd name="connsiteY6" fmla="*/ 4251325 h 4251325"/>
              <a:gd name="connsiteX7" fmla="*/ 0 w 9144000"/>
              <a:gd name="connsiteY7" fmla="*/ 708568 h 4251325"/>
              <a:gd name="connsiteX8" fmla="*/ 708568 w 9144000"/>
              <a:gd name="connsiteY8" fmla="*/ 0 h 4251325"/>
              <a:gd name="connsiteX0" fmla="*/ 180030 w 9301262"/>
              <a:gd name="connsiteY0" fmla="*/ 0 h 4260850"/>
              <a:gd name="connsiteX1" fmla="*/ 9301262 w 9301262"/>
              <a:gd name="connsiteY1" fmla="*/ 9525 h 4260850"/>
              <a:gd name="connsiteX2" fmla="*/ 9301262 w 9301262"/>
              <a:gd name="connsiteY2" fmla="*/ 9525 h 4260850"/>
              <a:gd name="connsiteX3" fmla="*/ 9301262 w 9301262"/>
              <a:gd name="connsiteY3" fmla="*/ 3552282 h 4260850"/>
              <a:gd name="connsiteX4" fmla="*/ 8592694 w 9301262"/>
              <a:gd name="connsiteY4" fmla="*/ 4260850 h 4260850"/>
              <a:gd name="connsiteX5" fmla="*/ 157262 w 9301262"/>
              <a:gd name="connsiteY5" fmla="*/ 4260850 h 4260850"/>
              <a:gd name="connsiteX6" fmla="*/ 157262 w 9301262"/>
              <a:gd name="connsiteY6" fmla="*/ 4260850 h 4260850"/>
              <a:gd name="connsiteX7" fmla="*/ 157262 w 9301262"/>
              <a:gd name="connsiteY7" fmla="*/ 718093 h 4260850"/>
              <a:gd name="connsiteX8" fmla="*/ 180030 w 9301262"/>
              <a:gd name="connsiteY8" fmla="*/ 0 h 4260850"/>
              <a:gd name="connsiteX0" fmla="*/ 23406 w 9144638"/>
              <a:gd name="connsiteY0" fmla="*/ 0 h 4260850"/>
              <a:gd name="connsiteX1" fmla="*/ 9144638 w 9144638"/>
              <a:gd name="connsiteY1" fmla="*/ 9525 h 4260850"/>
              <a:gd name="connsiteX2" fmla="*/ 9144638 w 9144638"/>
              <a:gd name="connsiteY2" fmla="*/ 9525 h 4260850"/>
              <a:gd name="connsiteX3" fmla="*/ 9144638 w 9144638"/>
              <a:gd name="connsiteY3" fmla="*/ 3552282 h 4260850"/>
              <a:gd name="connsiteX4" fmla="*/ 8436070 w 9144638"/>
              <a:gd name="connsiteY4" fmla="*/ 4260850 h 4260850"/>
              <a:gd name="connsiteX5" fmla="*/ 638 w 9144638"/>
              <a:gd name="connsiteY5" fmla="*/ 4260850 h 4260850"/>
              <a:gd name="connsiteX6" fmla="*/ 638 w 9144638"/>
              <a:gd name="connsiteY6" fmla="*/ 4260850 h 4260850"/>
              <a:gd name="connsiteX7" fmla="*/ 638 w 9144638"/>
              <a:gd name="connsiteY7" fmla="*/ 718093 h 4260850"/>
              <a:gd name="connsiteX8" fmla="*/ 23406 w 9144638"/>
              <a:gd name="connsiteY8" fmla="*/ 0 h 4260850"/>
              <a:gd name="connsiteX0" fmla="*/ 11705 w 9161512"/>
              <a:gd name="connsiteY0" fmla="*/ 9525 h 4251325"/>
              <a:gd name="connsiteX1" fmla="*/ 9161512 w 9161512"/>
              <a:gd name="connsiteY1" fmla="*/ 0 h 4251325"/>
              <a:gd name="connsiteX2" fmla="*/ 9161512 w 9161512"/>
              <a:gd name="connsiteY2" fmla="*/ 0 h 4251325"/>
              <a:gd name="connsiteX3" fmla="*/ 9161512 w 9161512"/>
              <a:gd name="connsiteY3" fmla="*/ 3542757 h 4251325"/>
              <a:gd name="connsiteX4" fmla="*/ 8452944 w 9161512"/>
              <a:gd name="connsiteY4" fmla="*/ 4251325 h 4251325"/>
              <a:gd name="connsiteX5" fmla="*/ 17512 w 9161512"/>
              <a:gd name="connsiteY5" fmla="*/ 4251325 h 4251325"/>
              <a:gd name="connsiteX6" fmla="*/ 17512 w 9161512"/>
              <a:gd name="connsiteY6" fmla="*/ 4251325 h 4251325"/>
              <a:gd name="connsiteX7" fmla="*/ 17512 w 9161512"/>
              <a:gd name="connsiteY7" fmla="*/ 708568 h 4251325"/>
              <a:gd name="connsiteX8" fmla="*/ 11705 w 9161512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8441308 w 9149876"/>
              <a:gd name="connsiteY4" fmla="*/ 42513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1325"/>
              <a:gd name="connsiteX1" fmla="*/ 9149876 w 9149876"/>
              <a:gd name="connsiteY1" fmla="*/ 0 h 4251325"/>
              <a:gd name="connsiteX2" fmla="*/ 9149876 w 9149876"/>
              <a:gd name="connsiteY2" fmla="*/ 0 h 4251325"/>
              <a:gd name="connsiteX3" fmla="*/ 9149876 w 9149876"/>
              <a:gd name="connsiteY3" fmla="*/ 3542757 h 4251325"/>
              <a:gd name="connsiteX4" fmla="*/ 1316608 w 9149876"/>
              <a:gd name="connsiteY4" fmla="*/ 3946525 h 4251325"/>
              <a:gd name="connsiteX5" fmla="*/ 5876 w 9149876"/>
              <a:gd name="connsiteY5" fmla="*/ 4251325 h 4251325"/>
              <a:gd name="connsiteX6" fmla="*/ 5876 w 9149876"/>
              <a:gd name="connsiteY6" fmla="*/ 4251325 h 4251325"/>
              <a:gd name="connsiteX7" fmla="*/ 5876 w 9149876"/>
              <a:gd name="connsiteY7" fmla="*/ 708568 h 4251325"/>
              <a:gd name="connsiteX8" fmla="*/ 69 w 9149876"/>
              <a:gd name="connsiteY8" fmla="*/ 9525 h 425132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542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895182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9 w 9149876"/>
              <a:gd name="connsiteY0" fmla="*/ 9525 h 4257675"/>
              <a:gd name="connsiteX1" fmla="*/ 9149876 w 9149876"/>
              <a:gd name="connsiteY1" fmla="*/ 0 h 4257675"/>
              <a:gd name="connsiteX2" fmla="*/ 9149876 w 9149876"/>
              <a:gd name="connsiteY2" fmla="*/ 0 h 4257675"/>
              <a:gd name="connsiteX3" fmla="*/ 9149876 w 9149876"/>
              <a:gd name="connsiteY3" fmla="*/ 3923757 h 4257675"/>
              <a:gd name="connsiteX4" fmla="*/ 1316608 w 9149876"/>
              <a:gd name="connsiteY4" fmla="*/ 3946525 h 4257675"/>
              <a:gd name="connsiteX5" fmla="*/ 1177451 w 9149876"/>
              <a:gd name="connsiteY5" fmla="*/ 4257675 h 4257675"/>
              <a:gd name="connsiteX6" fmla="*/ 5876 w 9149876"/>
              <a:gd name="connsiteY6" fmla="*/ 4251325 h 4257675"/>
              <a:gd name="connsiteX7" fmla="*/ 5876 w 9149876"/>
              <a:gd name="connsiteY7" fmla="*/ 4251325 h 4257675"/>
              <a:gd name="connsiteX8" fmla="*/ 5876 w 9149876"/>
              <a:gd name="connsiteY8" fmla="*/ 708568 h 4257675"/>
              <a:gd name="connsiteX9" fmla="*/ 69 w 9149876"/>
              <a:gd name="connsiteY9" fmla="*/ 9525 h 42576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23432 w 9156700"/>
              <a:gd name="connsiteY4" fmla="*/ 39465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84275 w 9156700"/>
              <a:gd name="connsiteY5" fmla="*/ 425767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12700 w 9156700"/>
              <a:gd name="connsiteY6" fmla="*/ 4251325 h 4270375"/>
              <a:gd name="connsiteX7" fmla="*/ 0 w 9156700"/>
              <a:gd name="connsiteY7" fmla="*/ 4270375 h 4270375"/>
              <a:gd name="connsiteX8" fmla="*/ 12700 w 9156700"/>
              <a:gd name="connsiteY8" fmla="*/ 708568 h 4270375"/>
              <a:gd name="connsiteX9" fmla="*/ 6893 w 9156700"/>
              <a:gd name="connsiteY9" fmla="*/ 9525 h 4270375"/>
              <a:gd name="connsiteX0" fmla="*/ 6893 w 9156700"/>
              <a:gd name="connsiteY0" fmla="*/ 9525 h 4270375"/>
              <a:gd name="connsiteX1" fmla="*/ 9156700 w 9156700"/>
              <a:gd name="connsiteY1" fmla="*/ 0 h 4270375"/>
              <a:gd name="connsiteX2" fmla="*/ 9156700 w 9156700"/>
              <a:gd name="connsiteY2" fmla="*/ 0 h 4270375"/>
              <a:gd name="connsiteX3" fmla="*/ 9156700 w 9156700"/>
              <a:gd name="connsiteY3" fmla="*/ 3923757 h 4270375"/>
              <a:gd name="connsiteX4" fmla="*/ 1342482 w 9156700"/>
              <a:gd name="connsiteY4" fmla="*/ 3908425 h 4270375"/>
              <a:gd name="connsiteX5" fmla="*/ 1190625 w 9156700"/>
              <a:gd name="connsiteY5" fmla="*/ 4264025 h 4270375"/>
              <a:gd name="connsiteX6" fmla="*/ 0 w 9156700"/>
              <a:gd name="connsiteY6" fmla="*/ 4270375 h 4270375"/>
              <a:gd name="connsiteX7" fmla="*/ 12700 w 9156700"/>
              <a:gd name="connsiteY7" fmla="*/ 708568 h 4270375"/>
              <a:gd name="connsiteX8" fmla="*/ 6893 w 9156700"/>
              <a:gd name="connsiteY8" fmla="*/ 9525 h 427037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084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64025"/>
              <a:gd name="connsiteX1" fmla="*/ 9156700 w 9156700"/>
              <a:gd name="connsiteY1" fmla="*/ 0 h 4264025"/>
              <a:gd name="connsiteX2" fmla="*/ 9156700 w 9156700"/>
              <a:gd name="connsiteY2" fmla="*/ 0 h 4264025"/>
              <a:gd name="connsiteX3" fmla="*/ 9156700 w 9156700"/>
              <a:gd name="connsiteY3" fmla="*/ 3923757 h 4264025"/>
              <a:gd name="connsiteX4" fmla="*/ 1342482 w 9156700"/>
              <a:gd name="connsiteY4" fmla="*/ 3921125 h 4264025"/>
              <a:gd name="connsiteX5" fmla="*/ 1190625 w 9156700"/>
              <a:gd name="connsiteY5" fmla="*/ 4264025 h 4264025"/>
              <a:gd name="connsiteX6" fmla="*/ 0 w 9156700"/>
              <a:gd name="connsiteY6" fmla="*/ 4257675 h 4264025"/>
              <a:gd name="connsiteX7" fmla="*/ 12700 w 9156700"/>
              <a:gd name="connsiteY7" fmla="*/ 708568 h 4264025"/>
              <a:gd name="connsiteX8" fmla="*/ 6893 w 9156700"/>
              <a:gd name="connsiteY8" fmla="*/ 9525 h 4264025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57675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13243 w 9163050"/>
              <a:gd name="connsiteY0" fmla="*/ 9525 h 4295946"/>
              <a:gd name="connsiteX1" fmla="*/ 9163050 w 9163050"/>
              <a:gd name="connsiteY1" fmla="*/ 0 h 4295946"/>
              <a:gd name="connsiteX2" fmla="*/ 9163050 w 9163050"/>
              <a:gd name="connsiteY2" fmla="*/ 0 h 4295946"/>
              <a:gd name="connsiteX3" fmla="*/ 9163050 w 9163050"/>
              <a:gd name="connsiteY3" fmla="*/ 3923757 h 4295946"/>
              <a:gd name="connsiteX4" fmla="*/ 1348832 w 9163050"/>
              <a:gd name="connsiteY4" fmla="*/ 3921125 h 4295946"/>
              <a:gd name="connsiteX5" fmla="*/ 1209675 w 9163050"/>
              <a:gd name="connsiteY5" fmla="*/ 4283160 h 4295946"/>
              <a:gd name="connsiteX6" fmla="*/ 0 w 9163050"/>
              <a:gd name="connsiteY6" fmla="*/ 4295946 h 4295946"/>
              <a:gd name="connsiteX7" fmla="*/ 19050 w 9163050"/>
              <a:gd name="connsiteY7" fmla="*/ 708568 h 4295946"/>
              <a:gd name="connsiteX8" fmla="*/ 13243 w 9163050"/>
              <a:gd name="connsiteY8" fmla="*/ 9525 h 4295946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1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83160"/>
              <a:gd name="connsiteX1" fmla="*/ 9156700 w 9156700"/>
              <a:gd name="connsiteY1" fmla="*/ 0 h 4283160"/>
              <a:gd name="connsiteX2" fmla="*/ 9156700 w 9156700"/>
              <a:gd name="connsiteY2" fmla="*/ 0 h 4283160"/>
              <a:gd name="connsiteX3" fmla="*/ 9156700 w 9156700"/>
              <a:gd name="connsiteY3" fmla="*/ 3923757 h 4283160"/>
              <a:gd name="connsiteX4" fmla="*/ 1342482 w 9156700"/>
              <a:gd name="connsiteY4" fmla="*/ 3921125 h 4283160"/>
              <a:gd name="connsiteX5" fmla="*/ 1203325 w 9156700"/>
              <a:gd name="connsiteY5" fmla="*/ 4283160 h 4283160"/>
              <a:gd name="connsiteX6" fmla="*/ 0 w 9156700"/>
              <a:gd name="connsiteY6" fmla="*/ 4276812 h 4283160"/>
              <a:gd name="connsiteX7" fmla="*/ 12700 w 9156700"/>
              <a:gd name="connsiteY7" fmla="*/ 708568 h 4283160"/>
              <a:gd name="connsiteX8" fmla="*/ 6893 w 9156700"/>
              <a:gd name="connsiteY8" fmla="*/ 9525 h 4283160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21125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30693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40261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9971"/>
              <a:gd name="connsiteX1" fmla="*/ 9156700 w 9156700"/>
              <a:gd name="connsiteY1" fmla="*/ 0 h 4279971"/>
              <a:gd name="connsiteX2" fmla="*/ 9156700 w 9156700"/>
              <a:gd name="connsiteY2" fmla="*/ 0 h 4279971"/>
              <a:gd name="connsiteX3" fmla="*/ 9156700 w 9156700"/>
              <a:gd name="connsiteY3" fmla="*/ 3923757 h 4279971"/>
              <a:gd name="connsiteX4" fmla="*/ 1342482 w 9156700"/>
              <a:gd name="connsiteY4" fmla="*/ 3959604 h 4279971"/>
              <a:gd name="connsiteX5" fmla="*/ 1203325 w 9156700"/>
              <a:gd name="connsiteY5" fmla="*/ 4279971 h 4279971"/>
              <a:gd name="connsiteX6" fmla="*/ 0 w 9156700"/>
              <a:gd name="connsiteY6" fmla="*/ 4276812 h 4279971"/>
              <a:gd name="connsiteX7" fmla="*/ 12700 w 9156700"/>
              <a:gd name="connsiteY7" fmla="*/ 708568 h 4279971"/>
              <a:gd name="connsiteX8" fmla="*/ 6893 w 9156700"/>
              <a:gd name="connsiteY8" fmla="*/ 9525 h 4279971"/>
              <a:gd name="connsiteX0" fmla="*/ 6893 w 9156700"/>
              <a:gd name="connsiteY0" fmla="*/ 9525 h 4276812"/>
              <a:gd name="connsiteX1" fmla="*/ 9156700 w 9156700"/>
              <a:gd name="connsiteY1" fmla="*/ 0 h 4276812"/>
              <a:gd name="connsiteX2" fmla="*/ 9156700 w 9156700"/>
              <a:gd name="connsiteY2" fmla="*/ 0 h 4276812"/>
              <a:gd name="connsiteX3" fmla="*/ 9156700 w 9156700"/>
              <a:gd name="connsiteY3" fmla="*/ 3923757 h 4276812"/>
              <a:gd name="connsiteX4" fmla="*/ 1342482 w 9156700"/>
              <a:gd name="connsiteY4" fmla="*/ 3959604 h 4276812"/>
              <a:gd name="connsiteX5" fmla="*/ 1203325 w 9156700"/>
              <a:gd name="connsiteY5" fmla="*/ 4267882 h 4276812"/>
              <a:gd name="connsiteX6" fmla="*/ 0 w 9156700"/>
              <a:gd name="connsiteY6" fmla="*/ 4276812 h 4276812"/>
              <a:gd name="connsiteX7" fmla="*/ 12700 w 9156700"/>
              <a:gd name="connsiteY7" fmla="*/ 708568 h 4276812"/>
              <a:gd name="connsiteX8" fmla="*/ 6893 w 9156700"/>
              <a:gd name="connsiteY8" fmla="*/ 9525 h 427681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23757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5658 w 9149876"/>
              <a:gd name="connsiteY4" fmla="*/ 3959604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69276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49876"/>
              <a:gd name="connsiteY0" fmla="*/ 9525 h 4267882"/>
              <a:gd name="connsiteX1" fmla="*/ 9149876 w 9149876"/>
              <a:gd name="connsiteY1" fmla="*/ 0 h 4267882"/>
              <a:gd name="connsiteX2" fmla="*/ 9149876 w 9149876"/>
              <a:gd name="connsiteY2" fmla="*/ 0 h 4267882"/>
              <a:gd name="connsiteX3" fmla="*/ 9149876 w 9149876"/>
              <a:gd name="connsiteY3" fmla="*/ 3957608 h 4267882"/>
              <a:gd name="connsiteX4" fmla="*/ 1338039 w 9149876"/>
              <a:gd name="connsiteY4" fmla="*/ 3954857 h 4267882"/>
              <a:gd name="connsiteX5" fmla="*/ 1196501 w 9149876"/>
              <a:gd name="connsiteY5" fmla="*/ 4267882 h 4267882"/>
              <a:gd name="connsiteX6" fmla="*/ 2701 w 9149876"/>
              <a:gd name="connsiteY6" fmla="*/ 4264722 h 4267882"/>
              <a:gd name="connsiteX7" fmla="*/ 5876 w 9149876"/>
              <a:gd name="connsiteY7" fmla="*/ 708568 h 4267882"/>
              <a:gd name="connsiteX8" fmla="*/ 69 w 9149876"/>
              <a:gd name="connsiteY8" fmla="*/ 9525 h 4267882"/>
              <a:gd name="connsiteX0" fmla="*/ 69 w 9154641"/>
              <a:gd name="connsiteY0" fmla="*/ 9525 h 4267882"/>
              <a:gd name="connsiteX1" fmla="*/ 9149876 w 9154641"/>
              <a:gd name="connsiteY1" fmla="*/ 0 h 4267882"/>
              <a:gd name="connsiteX2" fmla="*/ 9149876 w 9154641"/>
              <a:gd name="connsiteY2" fmla="*/ 0 h 4267882"/>
              <a:gd name="connsiteX3" fmla="*/ 9154641 w 9154641"/>
              <a:gd name="connsiteY3" fmla="*/ 3952802 h 4267882"/>
              <a:gd name="connsiteX4" fmla="*/ 1338039 w 9154641"/>
              <a:gd name="connsiteY4" fmla="*/ 3954857 h 4267882"/>
              <a:gd name="connsiteX5" fmla="*/ 1196501 w 9154641"/>
              <a:gd name="connsiteY5" fmla="*/ 4267882 h 4267882"/>
              <a:gd name="connsiteX6" fmla="*/ 2701 w 9154641"/>
              <a:gd name="connsiteY6" fmla="*/ 4264722 h 4267882"/>
              <a:gd name="connsiteX7" fmla="*/ 5876 w 9154641"/>
              <a:gd name="connsiteY7" fmla="*/ 708568 h 4267882"/>
              <a:gd name="connsiteX8" fmla="*/ 69 w 9154641"/>
              <a:gd name="connsiteY8" fmla="*/ 9525 h 4267882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9702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38039 w 9154641"/>
              <a:gd name="connsiteY4" fmla="*/ 3964559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4641"/>
              <a:gd name="connsiteY0" fmla="*/ 0 h 4277584"/>
              <a:gd name="connsiteX1" fmla="*/ 9149876 w 9154641"/>
              <a:gd name="connsiteY1" fmla="*/ 9702 h 4277584"/>
              <a:gd name="connsiteX2" fmla="*/ 9149876 w 9154641"/>
              <a:gd name="connsiteY2" fmla="*/ 89 h 4277584"/>
              <a:gd name="connsiteX3" fmla="*/ 9154641 w 9154641"/>
              <a:gd name="connsiteY3" fmla="*/ 3962504 h 4277584"/>
              <a:gd name="connsiteX4" fmla="*/ 1350697 w 9154641"/>
              <a:gd name="connsiteY4" fmla="*/ 3951741 h 4277584"/>
              <a:gd name="connsiteX5" fmla="*/ 1196501 w 9154641"/>
              <a:gd name="connsiteY5" fmla="*/ 4277584 h 4277584"/>
              <a:gd name="connsiteX6" fmla="*/ 2701 w 9154641"/>
              <a:gd name="connsiteY6" fmla="*/ 4274424 h 4277584"/>
              <a:gd name="connsiteX7" fmla="*/ 5876 w 9154641"/>
              <a:gd name="connsiteY7" fmla="*/ 718270 h 4277584"/>
              <a:gd name="connsiteX8" fmla="*/ 69 w 9154641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174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52890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4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0600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41204 w 9150032"/>
              <a:gd name="connsiteY4" fmla="*/ 3967847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5431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19650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63015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2555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5069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4357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36457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4 w 9150032"/>
              <a:gd name="connsiteY4" fmla="*/ 3958183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19844 w 9150032"/>
              <a:gd name="connsiteY4" fmla="*/ 3967847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7584"/>
              <a:gd name="connsiteX1" fmla="*/ 9149876 w 9150032"/>
              <a:gd name="connsiteY1" fmla="*/ 9702 h 4277584"/>
              <a:gd name="connsiteX2" fmla="*/ 9149876 w 9150032"/>
              <a:gd name="connsiteY2" fmla="*/ 89 h 4277584"/>
              <a:gd name="connsiteX3" fmla="*/ 9141983 w 9150032"/>
              <a:gd name="connsiteY3" fmla="*/ 3960138 h 4277584"/>
              <a:gd name="connsiteX4" fmla="*/ 1326965 w 9150032"/>
              <a:gd name="connsiteY4" fmla="*/ 3960599 h 4277584"/>
              <a:gd name="connsiteX5" fmla="*/ 1203621 w 9150032"/>
              <a:gd name="connsiteY5" fmla="*/ 4277584 h 4277584"/>
              <a:gd name="connsiteX6" fmla="*/ 2701 w 9150032"/>
              <a:gd name="connsiteY6" fmla="*/ 4274424 h 4277584"/>
              <a:gd name="connsiteX7" fmla="*/ 5876 w 9150032"/>
              <a:gd name="connsiteY7" fmla="*/ 718270 h 4277584"/>
              <a:gd name="connsiteX8" fmla="*/ 69 w 9150032"/>
              <a:gd name="connsiteY8" fmla="*/ 0 h 4277584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0741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5168"/>
              <a:gd name="connsiteX1" fmla="*/ 9149876 w 9150032"/>
              <a:gd name="connsiteY1" fmla="*/ 9702 h 4275168"/>
              <a:gd name="connsiteX2" fmla="*/ 9149876 w 9150032"/>
              <a:gd name="connsiteY2" fmla="*/ 89 h 4275168"/>
              <a:gd name="connsiteX3" fmla="*/ 9141983 w 9150032"/>
              <a:gd name="connsiteY3" fmla="*/ 3960138 h 4275168"/>
              <a:gd name="connsiteX4" fmla="*/ 1326965 w 9150032"/>
              <a:gd name="connsiteY4" fmla="*/ 3960599 h 4275168"/>
              <a:gd name="connsiteX5" fmla="*/ 1213115 w 9150032"/>
              <a:gd name="connsiteY5" fmla="*/ 4275168 h 4275168"/>
              <a:gd name="connsiteX6" fmla="*/ 2701 w 9150032"/>
              <a:gd name="connsiteY6" fmla="*/ 4274424 h 4275168"/>
              <a:gd name="connsiteX7" fmla="*/ 5876 w 9150032"/>
              <a:gd name="connsiteY7" fmla="*/ 718270 h 4275168"/>
              <a:gd name="connsiteX8" fmla="*/ 69 w 9150032"/>
              <a:gd name="connsiteY8" fmla="*/ 0 h 4275168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3115 w 9150032"/>
              <a:gd name="connsiteY5" fmla="*/ 4275168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0742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4831"/>
              <a:gd name="connsiteX1" fmla="*/ 9149876 w 9150032"/>
              <a:gd name="connsiteY1" fmla="*/ 9702 h 4284831"/>
              <a:gd name="connsiteX2" fmla="*/ 9149876 w 9150032"/>
              <a:gd name="connsiteY2" fmla="*/ 89 h 4284831"/>
              <a:gd name="connsiteX3" fmla="*/ 9141983 w 9150032"/>
              <a:gd name="connsiteY3" fmla="*/ 3960138 h 4284831"/>
              <a:gd name="connsiteX4" fmla="*/ 1326965 w 9150032"/>
              <a:gd name="connsiteY4" fmla="*/ 3960599 h 4284831"/>
              <a:gd name="connsiteX5" fmla="*/ 1210742 w 9150032"/>
              <a:gd name="connsiteY5" fmla="*/ 4284831 h 4284831"/>
              <a:gd name="connsiteX6" fmla="*/ 2701 w 9150032"/>
              <a:gd name="connsiteY6" fmla="*/ 4279257 h 4284831"/>
              <a:gd name="connsiteX7" fmla="*/ 5876 w 9150032"/>
              <a:gd name="connsiteY7" fmla="*/ 718270 h 4284831"/>
              <a:gd name="connsiteX8" fmla="*/ 69 w 9150032"/>
              <a:gd name="connsiteY8" fmla="*/ 0 h 4284831"/>
              <a:gd name="connsiteX0" fmla="*/ 69 w 9150032"/>
              <a:gd name="connsiteY0" fmla="*/ 0 h 4279257"/>
              <a:gd name="connsiteX1" fmla="*/ 9149876 w 9150032"/>
              <a:gd name="connsiteY1" fmla="*/ 9702 h 4279257"/>
              <a:gd name="connsiteX2" fmla="*/ 9149876 w 9150032"/>
              <a:gd name="connsiteY2" fmla="*/ 89 h 4279257"/>
              <a:gd name="connsiteX3" fmla="*/ 9141983 w 9150032"/>
              <a:gd name="connsiteY3" fmla="*/ 3960138 h 4279257"/>
              <a:gd name="connsiteX4" fmla="*/ 1326965 w 9150032"/>
              <a:gd name="connsiteY4" fmla="*/ 3960599 h 4279257"/>
              <a:gd name="connsiteX5" fmla="*/ 1210742 w 9150032"/>
              <a:gd name="connsiteY5" fmla="*/ 4277583 h 4279257"/>
              <a:gd name="connsiteX6" fmla="*/ 2701 w 9150032"/>
              <a:gd name="connsiteY6" fmla="*/ 4279257 h 4279257"/>
              <a:gd name="connsiteX7" fmla="*/ 5876 w 9150032"/>
              <a:gd name="connsiteY7" fmla="*/ 718270 h 4279257"/>
              <a:gd name="connsiteX8" fmla="*/ 69 w 9150032"/>
              <a:gd name="connsiteY8" fmla="*/ 0 h 4279257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2701 w 9150032"/>
              <a:gd name="connsiteY6" fmla="*/ 4279257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4089"/>
              <a:gd name="connsiteX1" fmla="*/ 9149876 w 9150032"/>
              <a:gd name="connsiteY1" fmla="*/ 9702 h 4284089"/>
              <a:gd name="connsiteX2" fmla="*/ 9149876 w 9150032"/>
              <a:gd name="connsiteY2" fmla="*/ 89 h 4284089"/>
              <a:gd name="connsiteX3" fmla="*/ 9141983 w 9150032"/>
              <a:gd name="connsiteY3" fmla="*/ 3960138 h 4284089"/>
              <a:gd name="connsiteX4" fmla="*/ 1326965 w 9150032"/>
              <a:gd name="connsiteY4" fmla="*/ 3960599 h 4284089"/>
              <a:gd name="connsiteX5" fmla="*/ 1213116 w 9150032"/>
              <a:gd name="connsiteY5" fmla="*/ 4282416 h 4284089"/>
              <a:gd name="connsiteX6" fmla="*/ 2701 w 9150032"/>
              <a:gd name="connsiteY6" fmla="*/ 4284089 h 4284089"/>
              <a:gd name="connsiteX7" fmla="*/ 5876 w 9150032"/>
              <a:gd name="connsiteY7" fmla="*/ 718270 h 4284089"/>
              <a:gd name="connsiteX8" fmla="*/ 69 w 9150032"/>
              <a:gd name="connsiteY8" fmla="*/ 0 h 4284089"/>
              <a:gd name="connsiteX0" fmla="*/ 69 w 9150032"/>
              <a:gd name="connsiteY0" fmla="*/ 0 h 4282416"/>
              <a:gd name="connsiteX1" fmla="*/ 9149876 w 9150032"/>
              <a:gd name="connsiteY1" fmla="*/ 9702 h 4282416"/>
              <a:gd name="connsiteX2" fmla="*/ 9149876 w 9150032"/>
              <a:gd name="connsiteY2" fmla="*/ 89 h 4282416"/>
              <a:gd name="connsiteX3" fmla="*/ 9141983 w 9150032"/>
              <a:gd name="connsiteY3" fmla="*/ 3960138 h 4282416"/>
              <a:gd name="connsiteX4" fmla="*/ 1326965 w 9150032"/>
              <a:gd name="connsiteY4" fmla="*/ 3960599 h 4282416"/>
              <a:gd name="connsiteX5" fmla="*/ 1213116 w 9150032"/>
              <a:gd name="connsiteY5" fmla="*/ 4282416 h 4282416"/>
              <a:gd name="connsiteX6" fmla="*/ 5075 w 9150032"/>
              <a:gd name="connsiteY6" fmla="*/ 4281672 h 4282416"/>
              <a:gd name="connsiteX7" fmla="*/ 5876 w 9150032"/>
              <a:gd name="connsiteY7" fmla="*/ 718270 h 4282416"/>
              <a:gd name="connsiteX8" fmla="*/ 69 w 9150032"/>
              <a:gd name="connsiteY8" fmla="*/ 0 h 4282416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5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31713 w 9150032"/>
              <a:gd name="connsiteY4" fmla="*/ 3960599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2219 w 9150032"/>
              <a:gd name="connsiteY4" fmla="*/ 3970263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9340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32"/>
              <a:gd name="connsiteY0" fmla="*/ 0 h 4281672"/>
              <a:gd name="connsiteX1" fmla="*/ 9149876 w 9150032"/>
              <a:gd name="connsiteY1" fmla="*/ 9702 h 4281672"/>
              <a:gd name="connsiteX2" fmla="*/ 9149876 w 9150032"/>
              <a:gd name="connsiteY2" fmla="*/ 89 h 4281672"/>
              <a:gd name="connsiteX3" fmla="*/ 9141983 w 9150032"/>
              <a:gd name="connsiteY3" fmla="*/ 3960138 h 4281672"/>
              <a:gd name="connsiteX4" fmla="*/ 1326967 w 9150032"/>
              <a:gd name="connsiteY4" fmla="*/ 3965430 h 4281672"/>
              <a:gd name="connsiteX5" fmla="*/ 1213117 w 9150032"/>
              <a:gd name="connsiteY5" fmla="*/ 4280000 h 4281672"/>
              <a:gd name="connsiteX6" fmla="*/ 5075 w 9150032"/>
              <a:gd name="connsiteY6" fmla="*/ 4281672 h 4281672"/>
              <a:gd name="connsiteX7" fmla="*/ 5876 w 9150032"/>
              <a:gd name="connsiteY7" fmla="*/ 718270 h 4281672"/>
              <a:gd name="connsiteX8" fmla="*/ 69 w 9150032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26967 w 9150006"/>
              <a:gd name="connsiteY4" fmla="*/ 3965430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31714 w 9150006"/>
              <a:gd name="connsiteY4" fmla="*/ 3963015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13117 w 9150006"/>
              <a:gd name="connsiteY5" fmla="*/ 4280000 h 4281672"/>
              <a:gd name="connsiteX6" fmla="*/ 5075 w 9150006"/>
              <a:gd name="connsiteY6" fmla="*/ 4281672 h 4281672"/>
              <a:gd name="connsiteX7" fmla="*/ 5876 w 9150006"/>
              <a:gd name="connsiteY7" fmla="*/ 718270 h 4281672"/>
              <a:gd name="connsiteX8" fmla="*/ 69 w 9150006"/>
              <a:gd name="connsiteY8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3866 w 9150006"/>
              <a:gd name="connsiteY5" fmla="*/ 4009885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05053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13117 w 9150006"/>
              <a:gd name="connsiteY6" fmla="*/ 4280000 h 4281672"/>
              <a:gd name="connsiteX7" fmla="*/ 5075 w 9150006"/>
              <a:gd name="connsiteY7" fmla="*/ 4281672 h 4281672"/>
              <a:gd name="connsiteX8" fmla="*/ 5876 w 9150006"/>
              <a:gd name="connsiteY8" fmla="*/ 718270 h 4281672"/>
              <a:gd name="connsiteX9" fmla="*/ 69 w 9150006"/>
              <a:gd name="connsiteY9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6239 w 9150006"/>
              <a:gd name="connsiteY5" fmla="*/ 4014718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17134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6 w 9150006"/>
              <a:gd name="connsiteY5" fmla="*/ 4007470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10420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6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5733 w 9150006"/>
              <a:gd name="connsiteY5" fmla="*/ 4005054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3360 w 9150006"/>
              <a:gd name="connsiteY5" fmla="*/ 4002638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70987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69 w 9150006"/>
              <a:gd name="connsiteY0" fmla="*/ 0 h 4281672"/>
              <a:gd name="connsiteX1" fmla="*/ 9149876 w 9150006"/>
              <a:gd name="connsiteY1" fmla="*/ 9702 h 4281672"/>
              <a:gd name="connsiteX2" fmla="*/ 9149876 w 9150006"/>
              <a:gd name="connsiteY2" fmla="*/ 89 h 4281672"/>
              <a:gd name="connsiteX3" fmla="*/ 9139610 w 9150006"/>
              <a:gd name="connsiteY3" fmla="*/ 3967387 h 4281672"/>
              <a:gd name="connsiteX4" fmla="*/ 1343580 w 9150006"/>
              <a:gd name="connsiteY4" fmla="*/ 3963016 h 4281672"/>
              <a:gd name="connsiteX5" fmla="*/ 1268613 w 9150006"/>
              <a:gd name="connsiteY5" fmla="*/ 4009885 h 4281672"/>
              <a:gd name="connsiteX6" fmla="*/ 1261493 w 9150006"/>
              <a:gd name="connsiteY6" fmla="*/ 4220084 h 4281672"/>
              <a:gd name="connsiteX7" fmla="*/ 1213117 w 9150006"/>
              <a:gd name="connsiteY7" fmla="*/ 4280000 h 4281672"/>
              <a:gd name="connsiteX8" fmla="*/ 5075 w 9150006"/>
              <a:gd name="connsiteY8" fmla="*/ 4281672 h 4281672"/>
              <a:gd name="connsiteX9" fmla="*/ 5876 w 9150006"/>
              <a:gd name="connsiteY9" fmla="*/ 718270 h 4281672"/>
              <a:gd name="connsiteX10" fmla="*/ 69 w 9150006"/>
              <a:gd name="connsiteY10" fmla="*/ 0 h 4281672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213854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80000"/>
              <a:gd name="connsiteX1" fmla="*/ 9150613 w 9152201"/>
              <a:gd name="connsiteY1" fmla="*/ 9702 h 4280000"/>
              <a:gd name="connsiteX2" fmla="*/ 9150613 w 9152201"/>
              <a:gd name="connsiteY2" fmla="*/ 89 h 4280000"/>
              <a:gd name="connsiteX3" fmla="*/ 9140347 w 9152201"/>
              <a:gd name="connsiteY3" fmla="*/ 3967387 h 4280000"/>
              <a:gd name="connsiteX4" fmla="*/ 1344317 w 9152201"/>
              <a:gd name="connsiteY4" fmla="*/ 3963016 h 4280000"/>
              <a:gd name="connsiteX5" fmla="*/ 1269350 w 9152201"/>
              <a:gd name="connsiteY5" fmla="*/ 4009885 h 4280000"/>
              <a:gd name="connsiteX6" fmla="*/ 1262230 w 9152201"/>
              <a:gd name="connsiteY6" fmla="*/ 4220084 h 4280000"/>
              <a:gd name="connsiteX7" fmla="*/ 1196100 w 9152201"/>
              <a:gd name="connsiteY7" fmla="*/ 4280000 h 4280000"/>
              <a:gd name="connsiteX8" fmla="*/ 4376 w 9152201"/>
              <a:gd name="connsiteY8" fmla="*/ 4265541 h 4280000"/>
              <a:gd name="connsiteX9" fmla="*/ 6613 w 9152201"/>
              <a:gd name="connsiteY9" fmla="*/ 718270 h 4280000"/>
              <a:gd name="connsiteX10" fmla="*/ 806 w 9152201"/>
              <a:gd name="connsiteY10" fmla="*/ 0 h 4280000"/>
              <a:gd name="connsiteX0" fmla="*/ 806 w 9152201"/>
              <a:gd name="connsiteY0" fmla="*/ 0 h 4265541"/>
              <a:gd name="connsiteX1" fmla="*/ 9150613 w 9152201"/>
              <a:gd name="connsiteY1" fmla="*/ 9702 h 4265541"/>
              <a:gd name="connsiteX2" fmla="*/ 9150613 w 9152201"/>
              <a:gd name="connsiteY2" fmla="*/ 89 h 4265541"/>
              <a:gd name="connsiteX3" fmla="*/ 9140347 w 9152201"/>
              <a:gd name="connsiteY3" fmla="*/ 3967387 h 4265541"/>
              <a:gd name="connsiteX4" fmla="*/ 1344317 w 9152201"/>
              <a:gd name="connsiteY4" fmla="*/ 3963016 h 4265541"/>
              <a:gd name="connsiteX5" fmla="*/ 1269350 w 9152201"/>
              <a:gd name="connsiteY5" fmla="*/ 4009885 h 4265541"/>
              <a:gd name="connsiteX6" fmla="*/ 1262230 w 9152201"/>
              <a:gd name="connsiteY6" fmla="*/ 4220084 h 4265541"/>
              <a:gd name="connsiteX7" fmla="*/ 1196100 w 9152201"/>
              <a:gd name="connsiteY7" fmla="*/ 4258492 h 4265541"/>
              <a:gd name="connsiteX8" fmla="*/ 4376 w 9152201"/>
              <a:gd name="connsiteY8" fmla="*/ 4265541 h 4265541"/>
              <a:gd name="connsiteX9" fmla="*/ 6613 w 9152201"/>
              <a:gd name="connsiteY9" fmla="*/ 718270 h 4265541"/>
              <a:gd name="connsiteX10" fmla="*/ 806 w 9152201"/>
              <a:gd name="connsiteY10" fmla="*/ 0 h 4265541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75580"/>
              <a:gd name="connsiteX1" fmla="*/ 9150613 w 9152201"/>
              <a:gd name="connsiteY1" fmla="*/ 9702 h 4275580"/>
              <a:gd name="connsiteX2" fmla="*/ 9150613 w 9152201"/>
              <a:gd name="connsiteY2" fmla="*/ 89 h 4275580"/>
              <a:gd name="connsiteX3" fmla="*/ 9140347 w 9152201"/>
              <a:gd name="connsiteY3" fmla="*/ 3967387 h 4275580"/>
              <a:gd name="connsiteX4" fmla="*/ 1344317 w 9152201"/>
              <a:gd name="connsiteY4" fmla="*/ 3963016 h 4275580"/>
              <a:gd name="connsiteX5" fmla="*/ 1269350 w 9152201"/>
              <a:gd name="connsiteY5" fmla="*/ 4009885 h 4275580"/>
              <a:gd name="connsiteX6" fmla="*/ 1262230 w 9152201"/>
              <a:gd name="connsiteY6" fmla="*/ 4220084 h 4275580"/>
              <a:gd name="connsiteX7" fmla="*/ 1173736 w 9152201"/>
              <a:gd name="connsiteY7" fmla="*/ 4268653 h 4275580"/>
              <a:gd name="connsiteX8" fmla="*/ 4376 w 9152201"/>
              <a:gd name="connsiteY8" fmla="*/ 4265541 h 4275580"/>
              <a:gd name="connsiteX9" fmla="*/ 6613 w 9152201"/>
              <a:gd name="connsiteY9" fmla="*/ 718270 h 4275580"/>
              <a:gd name="connsiteX10" fmla="*/ 806 w 9152201"/>
              <a:gd name="connsiteY10" fmla="*/ 0 h 4275580"/>
              <a:gd name="connsiteX0" fmla="*/ 806 w 9152201"/>
              <a:gd name="connsiteY0" fmla="*/ 0 h 4268653"/>
              <a:gd name="connsiteX1" fmla="*/ 9150613 w 9152201"/>
              <a:gd name="connsiteY1" fmla="*/ 9702 h 4268653"/>
              <a:gd name="connsiteX2" fmla="*/ 9150613 w 9152201"/>
              <a:gd name="connsiteY2" fmla="*/ 89 h 4268653"/>
              <a:gd name="connsiteX3" fmla="*/ 9140347 w 9152201"/>
              <a:gd name="connsiteY3" fmla="*/ 3967387 h 4268653"/>
              <a:gd name="connsiteX4" fmla="*/ 1344317 w 9152201"/>
              <a:gd name="connsiteY4" fmla="*/ 3963016 h 4268653"/>
              <a:gd name="connsiteX5" fmla="*/ 1269350 w 9152201"/>
              <a:gd name="connsiteY5" fmla="*/ 4009885 h 4268653"/>
              <a:gd name="connsiteX6" fmla="*/ 1262230 w 9152201"/>
              <a:gd name="connsiteY6" fmla="*/ 4220084 h 4268653"/>
              <a:gd name="connsiteX7" fmla="*/ 1173736 w 9152201"/>
              <a:gd name="connsiteY7" fmla="*/ 4268653 h 4268653"/>
              <a:gd name="connsiteX8" fmla="*/ 4376 w 9152201"/>
              <a:gd name="connsiteY8" fmla="*/ 4265541 h 4268653"/>
              <a:gd name="connsiteX9" fmla="*/ 6613 w 9152201"/>
              <a:gd name="connsiteY9" fmla="*/ 718270 h 4268653"/>
              <a:gd name="connsiteX10" fmla="*/ 806 w 9152201"/>
              <a:gd name="connsiteY10" fmla="*/ 0 h 4268653"/>
              <a:gd name="connsiteX0" fmla="*/ 806 w 9152201"/>
              <a:gd name="connsiteY0" fmla="*/ 0 h 4290821"/>
              <a:gd name="connsiteX1" fmla="*/ 9150613 w 9152201"/>
              <a:gd name="connsiteY1" fmla="*/ 9702 h 4290821"/>
              <a:gd name="connsiteX2" fmla="*/ 9150613 w 9152201"/>
              <a:gd name="connsiteY2" fmla="*/ 89 h 4290821"/>
              <a:gd name="connsiteX3" fmla="*/ 9140347 w 9152201"/>
              <a:gd name="connsiteY3" fmla="*/ 3967387 h 4290821"/>
              <a:gd name="connsiteX4" fmla="*/ 1344317 w 9152201"/>
              <a:gd name="connsiteY4" fmla="*/ 3963016 h 4290821"/>
              <a:gd name="connsiteX5" fmla="*/ 1269350 w 9152201"/>
              <a:gd name="connsiteY5" fmla="*/ 4009885 h 4290821"/>
              <a:gd name="connsiteX6" fmla="*/ 1262230 w 9152201"/>
              <a:gd name="connsiteY6" fmla="*/ 4220084 h 4290821"/>
              <a:gd name="connsiteX7" fmla="*/ 1173736 w 9152201"/>
              <a:gd name="connsiteY7" fmla="*/ 4268653 h 4290821"/>
              <a:gd name="connsiteX8" fmla="*/ 4376 w 9152201"/>
              <a:gd name="connsiteY8" fmla="*/ 4265541 h 4290821"/>
              <a:gd name="connsiteX9" fmla="*/ 6613 w 9152201"/>
              <a:gd name="connsiteY9" fmla="*/ 718270 h 4290821"/>
              <a:gd name="connsiteX10" fmla="*/ 806 w 9152201"/>
              <a:gd name="connsiteY10" fmla="*/ 0 h 4290821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4376 w 9152201"/>
              <a:gd name="connsiteY8" fmla="*/ 4265541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2201"/>
              <a:gd name="connsiteY0" fmla="*/ 0 h 4275702"/>
              <a:gd name="connsiteX1" fmla="*/ 9150613 w 9152201"/>
              <a:gd name="connsiteY1" fmla="*/ 9702 h 4275702"/>
              <a:gd name="connsiteX2" fmla="*/ 9150613 w 9152201"/>
              <a:gd name="connsiteY2" fmla="*/ 89 h 4275702"/>
              <a:gd name="connsiteX3" fmla="*/ 9140347 w 9152201"/>
              <a:gd name="connsiteY3" fmla="*/ 3967387 h 4275702"/>
              <a:gd name="connsiteX4" fmla="*/ 1344317 w 9152201"/>
              <a:gd name="connsiteY4" fmla="*/ 3963016 h 4275702"/>
              <a:gd name="connsiteX5" fmla="*/ 1269350 w 9152201"/>
              <a:gd name="connsiteY5" fmla="*/ 4009885 h 4275702"/>
              <a:gd name="connsiteX6" fmla="*/ 1262230 w 9152201"/>
              <a:gd name="connsiteY6" fmla="*/ 4220084 h 4275702"/>
              <a:gd name="connsiteX7" fmla="*/ 1173736 w 9152201"/>
              <a:gd name="connsiteY7" fmla="*/ 4268653 h 4275702"/>
              <a:gd name="connsiteX8" fmla="*/ 0 w 9152201"/>
              <a:gd name="connsiteY8" fmla="*/ 4275702 h 4275702"/>
              <a:gd name="connsiteX9" fmla="*/ 6613 w 9152201"/>
              <a:gd name="connsiteY9" fmla="*/ 718270 h 4275702"/>
              <a:gd name="connsiteX10" fmla="*/ 806 w 9152201"/>
              <a:gd name="connsiteY10" fmla="*/ 0 h 4275702"/>
              <a:gd name="connsiteX0" fmla="*/ 806 w 9152201"/>
              <a:gd name="connsiteY0" fmla="*/ 0 h 4270324"/>
              <a:gd name="connsiteX1" fmla="*/ 9150613 w 9152201"/>
              <a:gd name="connsiteY1" fmla="*/ 9702 h 4270324"/>
              <a:gd name="connsiteX2" fmla="*/ 9150613 w 9152201"/>
              <a:gd name="connsiteY2" fmla="*/ 89 h 4270324"/>
              <a:gd name="connsiteX3" fmla="*/ 9140347 w 9152201"/>
              <a:gd name="connsiteY3" fmla="*/ 3967387 h 4270324"/>
              <a:gd name="connsiteX4" fmla="*/ 1344317 w 9152201"/>
              <a:gd name="connsiteY4" fmla="*/ 3963016 h 4270324"/>
              <a:gd name="connsiteX5" fmla="*/ 1269350 w 9152201"/>
              <a:gd name="connsiteY5" fmla="*/ 4009885 h 4270324"/>
              <a:gd name="connsiteX6" fmla="*/ 1262230 w 9152201"/>
              <a:gd name="connsiteY6" fmla="*/ 4220084 h 4270324"/>
              <a:gd name="connsiteX7" fmla="*/ 1173736 w 9152201"/>
              <a:gd name="connsiteY7" fmla="*/ 4268653 h 4270324"/>
              <a:gd name="connsiteX8" fmla="*/ 0 w 9152201"/>
              <a:gd name="connsiteY8" fmla="*/ 4265542 h 4270324"/>
              <a:gd name="connsiteX9" fmla="*/ 6613 w 9152201"/>
              <a:gd name="connsiteY9" fmla="*/ 718270 h 4270324"/>
              <a:gd name="connsiteX10" fmla="*/ 806 w 9152201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45123 w 9153007"/>
              <a:gd name="connsiteY4" fmla="*/ 396301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39531 w 9153007"/>
              <a:gd name="connsiteY4" fmla="*/ 3968097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41153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74881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1134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53007"/>
              <a:gd name="connsiteY0" fmla="*/ 0 h 4270324"/>
              <a:gd name="connsiteX1" fmla="*/ 9151419 w 9153007"/>
              <a:gd name="connsiteY1" fmla="*/ 9702 h 4270324"/>
              <a:gd name="connsiteX2" fmla="*/ 9151419 w 9153007"/>
              <a:gd name="connsiteY2" fmla="*/ 89 h 4270324"/>
              <a:gd name="connsiteX3" fmla="*/ 9114309 w 9153007"/>
              <a:gd name="connsiteY3" fmla="*/ 3967387 h 4270324"/>
              <a:gd name="connsiteX4" fmla="*/ 1352489 w 9153007"/>
              <a:gd name="connsiteY4" fmla="*/ 3975946 h 4270324"/>
              <a:gd name="connsiteX5" fmla="*/ 1270156 w 9153007"/>
              <a:gd name="connsiteY5" fmla="*/ 4009885 h 4270324"/>
              <a:gd name="connsiteX6" fmla="*/ 1263036 w 9153007"/>
              <a:gd name="connsiteY6" fmla="*/ 4220084 h 4270324"/>
              <a:gd name="connsiteX7" fmla="*/ 1174542 w 9153007"/>
              <a:gd name="connsiteY7" fmla="*/ 4268653 h 4270324"/>
              <a:gd name="connsiteX8" fmla="*/ 806 w 9153007"/>
              <a:gd name="connsiteY8" fmla="*/ 4265542 h 4270324"/>
              <a:gd name="connsiteX9" fmla="*/ 7419 w 9153007"/>
              <a:gd name="connsiteY9" fmla="*/ 718270 h 4270324"/>
              <a:gd name="connsiteX10" fmla="*/ 806 w 9153007"/>
              <a:gd name="connsiteY10" fmla="*/ 0 h 4270324"/>
              <a:gd name="connsiteX0" fmla="*/ 806 w 9167917"/>
              <a:gd name="connsiteY0" fmla="*/ 0 h 4270324"/>
              <a:gd name="connsiteX1" fmla="*/ 9151419 w 9167917"/>
              <a:gd name="connsiteY1" fmla="*/ 9702 h 4270324"/>
              <a:gd name="connsiteX2" fmla="*/ 9151419 w 9167917"/>
              <a:gd name="connsiteY2" fmla="*/ 89 h 4270324"/>
              <a:gd name="connsiteX3" fmla="*/ 9167917 w 9167917"/>
              <a:gd name="connsiteY3" fmla="*/ 3974881 h 4270324"/>
              <a:gd name="connsiteX4" fmla="*/ 1352489 w 9167917"/>
              <a:gd name="connsiteY4" fmla="*/ 3975946 h 4270324"/>
              <a:gd name="connsiteX5" fmla="*/ 1270156 w 9167917"/>
              <a:gd name="connsiteY5" fmla="*/ 4009885 h 4270324"/>
              <a:gd name="connsiteX6" fmla="*/ 1263036 w 9167917"/>
              <a:gd name="connsiteY6" fmla="*/ 4220084 h 4270324"/>
              <a:gd name="connsiteX7" fmla="*/ 1174542 w 9167917"/>
              <a:gd name="connsiteY7" fmla="*/ 4268653 h 4270324"/>
              <a:gd name="connsiteX8" fmla="*/ 806 w 9167917"/>
              <a:gd name="connsiteY8" fmla="*/ 4265542 h 4270324"/>
              <a:gd name="connsiteX9" fmla="*/ 7419 w 9167917"/>
              <a:gd name="connsiteY9" fmla="*/ 718270 h 4270324"/>
              <a:gd name="connsiteX10" fmla="*/ 806 w 9167917"/>
              <a:gd name="connsiteY10" fmla="*/ 0 h 4270324"/>
              <a:gd name="connsiteX0" fmla="*/ 806 w 9167917"/>
              <a:gd name="connsiteY0" fmla="*/ 0 h 4276230"/>
              <a:gd name="connsiteX1" fmla="*/ 9151419 w 9167917"/>
              <a:gd name="connsiteY1" fmla="*/ 9702 h 4276230"/>
              <a:gd name="connsiteX2" fmla="*/ 9151419 w 9167917"/>
              <a:gd name="connsiteY2" fmla="*/ 89 h 4276230"/>
              <a:gd name="connsiteX3" fmla="*/ 9167917 w 9167917"/>
              <a:gd name="connsiteY3" fmla="*/ 3974881 h 4276230"/>
              <a:gd name="connsiteX4" fmla="*/ 1352489 w 9167917"/>
              <a:gd name="connsiteY4" fmla="*/ 3975946 h 4276230"/>
              <a:gd name="connsiteX5" fmla="*/ 1270156 w 9167917"/>
              <a:gd name="connsiteY5" fmla="*/ 4009885 h 4276230"/>
              <a:gd name="connsiteX6" fmla="*/ 1263036 w 9167917"/>
              <a:gd name="connsiteY6" fmla="*/ 4220084 h 4276230"/>
              <a:gd name="connsiteX7" fmla="*/ 1174542 w 9167917"/>
              <a:gd name="connsiteY7" fmla="*/ 4268653 h 4276230"/>
              <a:gd name="connsiteX8" fmla="*/ 806 w 9167917"/>
              <a:gd name="connsiteY8" fmla="*/ 4265543 h 4276230"/>
              <a:gd name="connsiteX9" fmla="*/ 7419 w 9167917"/>
              <a:gd name="connsiteY9" fmla="*/ 718270 h 4276230"/>
              <a:gd name="connsiteX10" fmla="*/ 806 w 9167917"/>
              <a:gd name="connsiteY10" fmla="*/ 0 h 4276230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6 w 9167917"/>
              <a:gd name="connsiteY8" fmla="*/ 4250555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90722 w 9257833"/>
              <a:gd name="connsiteY0" fmla="*/ 0 h 4268653"/>
              <a:gd name="connsiteX1" fmla="*/ 9241335 w 9257833"/>
              <a:gd name="connsiteY1" fmla="*/ 9702 h 4268653"/>
              <a:gd name="connsiteX2" fmla="*/ 9241335 w 9257833"/>
              <a:gd name="connsiteY2" fmla="*/ 89 h 4268653"/>
              <a:gd name="connsiteX3" fmla="*/ 9257833 w 9257833"/>
              <a:gd name="connsiteY3" fmla="*/ 3974881 h 4268653"/>
              <a:gd name="connsiteX4" fmla="*/ 1442405 w 9257833"/>
              <a:gd name="connsiteY4" fmla="*/ 3975946 h 4268653"/>
              <a:gd name="connsiteX5" fmla="*/ 1360072 w 9257833"/>
              <a:gd name="connsiteY5" fmla="*/ 4009885 h 4268653"/>
              <a:gd name="connsiteX6" fmla="*/ 1352952 w 9257833"/>
              <a:gd name="connsiteY6" fmla="*/ 4220084 h 4268653"/>
              <a:gd name="connsiteX7" fmla="*/ 1264458 w 9257833"/>
              <a:gd name="connsiteY7" fmla="*/ 4268653 h 4268653"/>
              <a:gd name="connsiteX8" fmla="*/ 0 w 9257833"/>
              <a:gd name="connsiteY8" fmla="*/ 4246809 h 4268653"/>
              <a:gd name="connsiteX9" fmla="*/ 97335 w 9257833"/>
              <a:gd name="connsiteY9" fmla="*/ 718270 h 4268653"/>
              <a:gd name="connsiteX10" fmla="*/ 90722 w 9257833"/>
              <a:gd name="connsiteY10" fmla="*/ 0 h 4268653"/>
              <a:gd name="connsiteX0" fmla="*/ 806 w 9167917"/>
              <a:gd name="connsiteY0" fmla="*/ 0 h 4268653"/>
              <a:gd name="connsiteX1" fmla="*/ 9151419 w 9167917"/>
              <a:gd name="connsiteY1" fmla="*/ 9702 h 4268653"/>
              <a:gd name="connsiteX2" fmla="*/ 9151419 w 9167917"/>
              <a:gd name="connsiteY2" fmla="*/ 89 h 4268653"/>
              <a:gd name="connsiteX3" fmla="*/ 9167917 w 9167917"/>
              <a:gd name="connsiteY3" fmla="*/ 3974881 h 4268653"/>
              <a:gd name="connsiteX4" fmla="*/ 1352489 w 9167917"/>
              <a:gd name="connsiteY4" fmla="*/ 3975946 h 4268653"/>
              <a:gd name="connsiteX5" fmla="*/ 1270156 w 9167917"/>
              <a:gd name="connsiteY5" fmla="*/ 4009885 h 4268653"/>
              <a:gd name="connsiteX6" fmla="*/ 1263036 w 9167917"/>
              <a:gd name="connsiteY6" fmla="*/ 4220084 h 4268653"/>
              <a:gd name="connsiteX7" fmla="*/ 1174542 w 9167917"/>
              <a:gd name="connsiteY7" fmla="*/ 4268653 h 4268653"/>
              <a:gd name="connsiteX8" fmla="*/ 807 w 9167917"/>
              <a:gd name="connsiteY8" fmla="*/ 4261796 h 4268653"/>
              <a:gd name="connsiteX9" fmla="*/ 7419 w 9167917"/>
              <a:gd name="connsiteY9" fmla="*/ 718270 h 4268653"/>
              <a:gd name="connsiteX10" fmla="*/ 806 w 9167917"/>
              <a:gd name="connsiteY10" fmla="*/ 0 h 4268653"/>
              <a:gd name="connsiteX0" fmla="*/ 70102 w 9237213"/>
              <a:gd name="connsiteY0" fmla="*/ 0 h 4273036"/>
              <a:gd name="connsiteX1" fmla="*/ 9220715 w 9237213"/>
              <a:gd name="connsiteY1" fmla="*/ 9702 h 4273036"/>
              <a:gd name="connsiteX2" fmla="*/ 9220715 w 9237213"/>
              <a:gd name="connsiteY2" fmla="*/ 89 h 4273036"/>
              <a:gd name="connsiteX3" fmla="*/ 9237213 w 9237213"/>
              <a:gd name="connsiteY3" fmla="*/ 3974881 h 4273036"/>
              <a:gd name="connsiteX4" fmla="*/ 1421785 w 9237213"/>
              <a:gd name="connsiteY4" fmla="*/ 3975946 h 4273036"/>
              <a:gd name="connsiteX5" fmla="*/ 1339452 w 9237213"/>
              <a:gd name="connsiteY5" fmla="*/ 4009885 h 4273036"/>
              <a:gd name="connsiteX6" fmla="*/ 1332332 w 9237213"/>
              <a:gd name="connsiteY6" fmla="*/ 4220084 h 4273036"/>
              <a:gd name="connsiteX7" fmla="*/ 1243838 w 9237213"/>
              <a:gd name="connsiteY7" fmla="*/ 4268653 h 4273036"/>
              <a:gd name="connsiteX8" fmla="*/ 0 w 9237213"/>
              <a:gd name="connsiteY8" fmla="*/ 4273036 h 4273036"/>
              <a:gd name="connsiteX9" fmla="*/ 76715 w 9237213"/>
              <a:gd name="connsiteY9" fmla="*/ 718270 h 4273036"/>
              <a:gd name="connsiteX10" fmla="*/ 70102 w 9237213"/>
              <a:gd name="connsiteY10" fmla="*/ 0 h 4273036"/>
              <a:gd name="connsiteX0" fmla="*/ 53607 w 9220718"/>
              <a:gd name="connsiteY0" fmla="*/ 0 h 4268653"/>
              <a:gd name="connsiteX1" fmla="*/ 9204220 w 9220718"/>
              <a:gd name="connsiteY1" fmla="*/ 9702 h 4268653"/>
              <a:gd name="connsiteX2" fmla="*/ 9204220 w 9220718"/>
              <a:gd name="connsiteY2" fmla="*/ 89 h 4268653"/>
              <a:gd name="connsiteX3" fmla="*/ 9220718 w 9220718"/>
              <a:gd name="connsiteY3" fmla="*/ 3974881 h 4268653"/>
              <a:gd name="connsiteX4" fmla="*/ 1405290 w 9220718"/>
              <a:gd name="connsiteY4" fmla="*/ 3975946 h 4268653"/>
              <a:gd name="connsiteX5" fmla="*/ 1322957 w 9220718"/>
              <a:gd name="connsiteY5" fmla="*/ 4009885 h 4268653"/>
              <a:gd name="connsiteX6" fmla="*/ 1315837 w 9220718"/>
              <a:gd name="connsiteY6" fmla="*/ 4220084 h 4268653"/>
              <a:gd name="connsiteX7" fmla="*/ 1227343 w 9220718"/>
              <a:gd name="connsiteY7" fmla="*/ 4268653 h 4268653"/>
              <a:gd name="connsiteX8" fmla="*/ 0 w 9220718"/>
              <a:gd name="connsiteY8" fmla="*/ 4265542 h 4268653"/>
              <a:gd name="connsiteX9" fmla="*/ 60220 w 9220718"/>
              <a:gd name="connsiteY9" fmla="*/ 718270 h 4268653"/>
              <a:gd name="connsiteX10" fmla="*/ 53607 w 9220718"/>
              <a:gd name="connsiteY10" fmla="*/ 0 h 4268653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27343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06724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17785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7 w 9220718"/>
              <a:gd name="connsiteY0" fmla="*/ 0 h 4271069"/>
              <a:gd name="connsiteX1" fmla="*/ 9204220 w 9220718"/>
              <a:gd name="connsiteY1" fmla="*/ 9702 h 4271069"/>
              <a:gd name="connsiteX2" fmla="*/ 9204220 w 9220718"/>
              <a:gd name="connsiteY2" fmla="*/ 89 h 4271069"/>
              <a:gd name="connsiteX3" fmla="*/ 9220718 w 9220718"/>
              <a:gd name="connsiteY3" fmla="*/ 3974881 h 4271069"/>
              <a:gd name="connsiteX4" fmla="*/ 1405290 w 9220718"/>
              <a:gd name="connsiteY4" fmla="*/ 3975946 h 4271069"/>
              <a:gd name="connsiteX5" fmla="*/ 1322957 w 9220718"/>
              <a:gd name="connsiteY5" fmla="*/ 4009885 h 4271069"/>
              <a:gd name="connsiteX6" fmla="*/ 1315837 w 9220718"/>
              <a:gd name="connsiteY6" fmla="*/ 4220084 h 4271069"/>
              <a:gd name="connsiteX7" fmla="*/ 1210847 w 9220718"/>
              <a:gd name="connsiteY7" fmla="*/ 4268653 h 4271069"/>
              <a:gd name="connsiteX8" fmla="*/ 0 w 9220718"/>
              <a:gd name="connsiteY8" fmla="*/ 4265542 h 4271069"/>
              <a:gd name="connsiteX9" fmla="*/ 60220 w 9220718"/>
              <a:gd name="connsiteY9" fmla="*/ 718270 h 4271069"/>
              <a:gd name="connsiteX10" fmla="*/ 53607 w 9220718"/>
              <a:gd name="connsiteY10" fmla="*/ 0 h 4271069"/>
              <a:gd name="connsiteX0" fmla="*/ 53608 w 9220718"/>
              <a:gd name="connsiteY0" fmla="*/ 0 h 4271068"/>
              <a:gd name="connsiteX1" fmla="*/ 9204220 w 9220718"/>
              <a:gd name="connsiteY1" fmla="*/ 9701 h 4271068"/>
              <a:gd name="connsiteX2" fmla="*/ 9204220 w 9220718"/>
              <a:gd name="connsiteY2" fmla="*/ 88 h 4271068"/>
              <a:gd name="connsiteX3" fmla="*/ 9220718 w 9220718"/>
              <a:gd name="connsiteY3" fmla="*/ 3974880 h 4271068"/>
              <a:gd name="connsiteX4" fmla="*/ 1405290 w 9220718"/>
              <a:gd name="connsiteY4" fmla="*/ 3975945 h 4271068"/>
              <a:gd name="connsiteX5" fmla="*/ 1322957 w 9220718"/>
              <a:gd name="connsiteY5" fmla="*/ 4009884 h 4271068"/>
              <a:gd name="connsiteX6" fmla="*/ 1315837 w 9220718"/>
              <a:gd name="connsiteY6" fmla="*/ 4220083 h 4271068"/>
              <a:gd name="connsiteX7" fmla="*/ 1210847 w 9220718"/>
              <a:gd name="connsiteY7" fmla="*/ 4268652 h 4271068"/>
              <a:gd name="connsiteX8" fmla="*/ 0 w 9220718"/>
              <a:gd name="connsiteY8" fmla="*/ 4265541 h 4271068"/>
              <a:gd name="connsiteX9" fmla="*/ 60220 w 9220718"/>
              <a:gd name="connsiteY9" fmla="*/ 718269 h 4271068"/>
              <a:gd name="connsiteX10" fmla="*/ 53608 w 9220718"/>
              <a:gd name="connsiteY10" fmla="*/ 0 h 4271068"/>
              <a:gd name="connsiteX0" fmla="*/ 92467 w 9259577"/>
              <a:gd name="connsiteY0" fmla="*/ 0 h 4271068"/>
              <a:gd name="connsiteX1" fmla="*/ 9243079 w 9259577"/>
              <a:gd name="connsiteY1" fmla="*/ 9701 h 4271068"/>
              <a:gd name="connsiteX2" fmla="*/ 9243079 w 9259577"/>
              <a:gd name="connsiteY2" fmla="*/ 88 h 4271068"/>
              <a:gd name="connsiteX3" fmla="*/ 9259577 w 9259577"/>
              <a:gd name="connsiteY3" fmla="*/ 3974880 h 4271068"/>
              <a:gd name="connsiteX4" fmla="*/ 1444149 w 9259577"/>
              <a:gd name="connsiteY4" fmla="*/ 3975945 h 4271068"/>
              <a:gd name="connsiteX5" fmla="*/ 1361816 w 9259577"/>
              <a:gd name="connsiteY5" fmla="*/ 4009884 h 4271068"/>
              <a:gd name="connsiteX6" fmla="*/ 1354696 w 9259577"/>
              <a:gd name="connsiteY6" fmla="*/ 4220083 h 4271068"/>
              <a:gd name="connsiteX7" fmla="*/ 1249706 w 9259577"/>
              <a:gd name="connsiteY7" fmla="*/ 4268652 h 4271068"/>
              <a:gd name="connsiteX8" fmla="*/ 38859 w 9259577"/>
              <a:gd name="connsiteY8" fmla="*/ 4265541 h 4271068"/>
              <a:gd name="connsiteX9" fmla="*/ 4233 w 9259577"/>
              <a:gd name="connsiteY9" fmla="*/ 718269 h 4271068"/>
              <a:gd name="connsiteX10" fmla="*/ 92467 w 9259577"/>
              <a:gd name="connsiteY10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1534037 w 10701147"/>
              <a:gd name="connsiteY0" fmla="*/ 0 h 4271068"/>
              <a:gd name="connsiteX1" fmla="*/ 10684649 w 10701147"/>
              <a:gd name="connsiteY1" fmla="*/ 9701 h 4271068"/>
              <a:gd name="connsiteX2" fmla="*/ 10684649 w 10701147"/>
              <a:gd name="connsiteY2" fmla="*/ 88 h 4271068"/>
              <a:gd name="connsiteX3" fmla="*/ 10701147 w 10701147"/>
              <a:gd name="connsiteY3" fmla="*/ 3974880 h 4271068"/>
              <a:gd name="connsiteX4" fmla="*/ 2885719 w 10701147"/>
              <a:gd name="connsiteY4" fmla="*/ 3975945 h 4271068"/>
              <a:gd name="connsiteX5" fmla="*/ 2803386 w 10701147"/>
              <a:gd name="connsiteY5" fmla="*/ 4009884 h 4271068"/>
              <a:gd name="connsiteX6" fmla="*/ 2796266 w 10701147"/>
              <a:gd name="connsiteY6" fmla="*/ 4220083 h 4271068"/>
              <a:gd name="connsiteX7" fmla="*/ 2691276 w 10701147"/>
              <a:gd name="connsiteY7" fmla="*/ 4268652 h 4271068"/>
              <a:gd name="connsiteX8" fmla="*/ 1480429 w 10701147"/>
              <a:gd name="connsiteY8" fmla="*/ 4265541 h 4271068"/>
              <a:gd name="connsiteX9" fmla="*/ 1534037 w 10701147"/>
              <a:gd name="connsiteY9" fmla="*/ 0 h 4271068"/>
              <a:gd name="connsiteX0" fmla="*/ 246481 w 9413591"/>
              <a:gd name="connsiteY0" fmla="*/ 0 h 4271068"/>
              <a:gd name="connsiteX1" fmla="*/ 9397093 w 9413591"/>
              <a:gd name="connsiteY1" fmla="*/ 9701 h 4271068"/>
              <a:gd name="connsiteX2" fmla="*/ 9397093 w 9413591"/>
              <a:gd name="connsiteY2" fmla="*/ 88 h 4271068"/>
              <a:gd name="connsiteX3" fmla="*/ 9413591 w 9413591"/>
              <a:gd name="connsiteY3" fmla="*/ 3974880 h 4271068"/>
              <a:gd name="connsiteX4" fmla="*/ 1598163 w 9413591"/>
              <a:gd name="connsiteY4" fmla="*/ 3975945 h 4271068"/>
              <a:gd name="connsiteX5" fmla="*/ 1515830 w 9413591"/>
              <a:gd name="connsiteY5" fmla="*/ 4009884 h 4271068"/>
              <a:gd name="connsiteX6" fmla="*/ 1508710 w 9413591"/>
              <a:gd name="connsiteY6" fmla="*/ 4220083 h 4271068"/>
              <a:gd name="connsiteX7" fmla="*/ 1403720 w 9413591"/>
              <a:gd name="connsiteY7" fmla="*/ 4268652 h 4271068"/>
              <a:gd name="connsiteX8" fmla="*/ 192873 w 9413591"/>
              <a:gd name="connsiteY8" fmla="*/ 4265541 h 4271068"/>
              <a:gd name="connsiteX9" fmla="*/ 246481 w 9413591"/>
              <a:gd name="connsiteY9" fmla="*/ 0 h 4271068"/>
              <a:gd name="connsiteX0" fmla="*/ 64211 w 9231321"/>
              <a:gd name="connsiteY0" fmla="*/ 0 h 4271068"/>
              <a:gd name="connsiteX1" fmla="*/ 9214823 w 9231321"/>
              <a:gd name="connsiteY1" fmla="*/ 9701 h 4271068"/>
              <a:gd name="connsiteX2" fmla="*/ 9214823 w 9231321"/>
              <a:gd name="connsiteY2" fmla="*/ 88 h 4271068"/>
              <a:gd name="connsiteX3" fmla="*/ 9231321 w 9231321"/>
              <a:gd name="connsiteY3" fmla="*/ 3974880 h 4271068"/>
              <a:gd name="connsiteX4" fmla="*/ 1415893 w 9231321"/>
              <a:gd name="connsiteY4" fmla="*/ 3975945 h 4271068"/>
              <a:gd name="connsiteX5" fmla="*/ 1333560 w 9231321"/>
              <a:gd name="connsiteY5" fmla="*/ 4009884 h 4271068"/>
              <a:gd name="connsiteX6" fmla="*/ 1326440 w 9231321"/>
              <a:gd name="connsiteY6" fmla="*/ 4220083 h 4271068"/>
              <a:gd name="connsiteX7" fmla="*/ 1221450 w 9231321"/>
              <a:gd name="connsiteY7" fmla="*/ 4268652 h 4271068"/>
              <a:gd name="connsiteX8" fmla="*/ 10603 w 9231321"/>
              <a:gd name="connsiteY8" fmla="*/ 4265541 h 4271068"/>
              <a:gd name="connsiteX9" fmla="*/ 64211 w 9231321"/>
              <a:gd name="connsiteY9" fmla="*/ 0 h 4271068"/>
              <a:gd name="connsiteX0" fmla="*/ 10604 w 9177714"/>
              <a:gd name="connsiteY0" fmla="*/ 0 h 4276228"/>
              <a:gd name="connsiteX1" fmla="*/ 9161216 w 9177714"/>
              <a:gd name="connsiteY1" fmla="*/ 9701 h 4276228"/>
              <a:gd name="connsiteX2" fmla="*/ 9161216 w 9177714"/>
              <a:gd name="connsiteY2" fmla="*/ 88 h 4276228"/>
              <a:gd name="connsiteX3" fmla="*/ 9177714 w 9177714"/>
              <a:gd name="connsiteY3" fmla="*/ 3974880 h 4276228"/>
              <a:gd name="connsiteX4" fmla="*/ 1362286 w 9177714"/>
              <a:gd name="connsiteY4" fmla="*/ 3975945 h 4276228"/>
              <a:gd name="connsiteX5" fmla="*/ 1279953 w 9177714"/>
              <a:gd name="connsiteY5" fmla="*/ 4009884 h 4276228"/>
              <a:gd name="connsiteX6" fmla="*/ 1272833 w 9177714"/>
              <a:gd name="connsiteY6" fmla="*/ 4220083 h 4276228"/>
              <a:gd name="connsiteX7" fmla="*/ 1167843 w 9177714"/>
              <a:gd name="connsiteY7" fmla="*/ 4268652 h 4276228"/>
              <a:gd name="connsiteX8" fmla="*/ 10603 w 9177714"/>
              <a:gd name="connsiteY8" fmla="*/ 4265541 h 4276228"/>
              <a:gd name="connsiteX9" fmla="*/ 10604 w 9177714"/>
              <a:gd name="connsiteY9" fmla="*/ 0 h 4276228"/>
              <a:gd name="connsiteX0" fmla="*/ 10604 w 9177714"/>
              <a:gd name="connsiteY0" fmla="*/ 0 h 4268609"/>
              <a:gd name="connsiteX1" fmla="*/ 9161216 w 9177714"/>
              <a:gd name="connsiteY1" fmla="*/ 9701 h 4268609"/>
              <a:gd name="connsiteX2" fmla="*/ 9161216 w 9177714"/>
              <a:gd name="connsiteY2" fmla="*/ 88 h 4268609"/>
              <a:gd name="connsiteX3" fmla="*/ 9177714 w 9177714"/>
              <a:gd name="connsiteY3" fmla="*/ 3974880 h 4268609"/>
              <a:gd name="connsiteX4" fmla="*/ 1362286 w 9177714"/>
              <a:gd name="connsiteY4" fmla="*/ 3975945 h 4268609"/>
              <a:gd name="connsiteX5" fmla="*/ 1279953 w 9177714"/>
              <a:gd name="connsiteY5" fmla="*/ 4009884 h 4268609"/>
              <a:gd name="connsiteX6" fmla="*/ 1272833 w 9177714"/>
              <a:gd name="connsiteY6" fmla="*/ 4220083 h 4268609"/>
              <a:gd name="connsiteX7" fmla="*/ 1206981 w 9177714"/>
              <a:gd name="connsiteY7" fmla="*/ 4261033 h 4268609"/>
              <a:gd name="connsiteX8" fmla="*/ 10603 w 9177714"/>
              <a:gd name="connsiteY8" fmla="*/ 4265541 h 4268609"/>
              <a:gd name="connsiteX9" fmla="*/ 10604 w 9177714"/>
              <a:gd name="connsiteY9" fmla="*/ 0 h 4268609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22008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206981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5541"/>
              <a:gd name="connsiteX1" fmla="*/ 9161216 w 9177714"/>
              <a:gd name="connsiteY1" fmla="*/ 9701 h 4265541"/>
              <a:gd name="connsiteX2" fmla="*/ 9161216 w 9177714"/>
              <a:gd name="connsiteY2" fmla="*/ 88 h 4265541"/>
              <a:gd name="connsiteX3" fmla="*/ 9177714 w 9177714"/>
              <a:gd name="connsiteY3" fmla="*/ 3974880 h 4265541"/>
              <a:gd name="connsiteX4" fmla="*/ 1362286 w 9177714"/>
              <a:gd name="connsiteY4" fmla="*/ 3975945 h 4265541"/>
              <a:gd name="connsiteX5" fmla="*/ 1279953 w 9177714"/>
              <a:gd name="connsiteY5" fmla="*/ 4009884 h 4265541"/>
              <a:gd name="connsiteX6" fmla="*/ 1272833 w 9177714"/>
              <a:gd name="connsiteY6" fmla="*/ 4197223 h 4265541"/>
              <a:gd name="connsiteX7" fmla="*/ 1184616 w 9177714"/>
              <a:gd name="connsiteY7" fmla="*/ 4261033 h 4265541"/>
              <a:gd name="connsiteX8" fmla="*/ 10603 w 9177714"/>
              <a:gd name="connsiteY8" fmla="*/ 4265541 h 4265541"/>
              <a:gd name="connsiteX9" fmla="*/ 10604 w 9177714"/>
              <a:gd name="connsiteY9" fmla="*/ 0 h 4265541"/>
              <a:gd name="connsiteX0" fmla="*/ 10604 w 9177714"/>
              <a:gd name="connsiteY0" fmla="*/ 0 h 4268698"/>
              <a:gd name="connsiteX1" fmla="*/ 9161216 w 9177714"/>
              <a:gd name="connsiteY1" fmla="*/ 9701 h 4268698"/>
              <a:gd name="connsiteX2" fmla="*/ 9161216 w 9177714"/>
              <a:gd name="connsiteY2" fmla="*/ 88 h 4268698"/>
              <a:gd name="connsiteX3" fmla="*/ 9177714 w 9177714"/>
              <a:gd name="connsiteY3" fmla="*/ 3974880 h 4268698"/>
              <a:gd name="connsiteX4" fmla="*/ 1362286 w 9177714"/>
              <a:gd name="connsiteY4" fmla="*/ 3975945 h 4268698"/>
              <a:gd name="connsiteX5" fmla="*/ 1279953 w 9177714"/>
              <a:gd name="connsiteY5" fmla="*/ 4009884 h 4268698"/>
              <a:gd name="connsiteX6" fmla="*/ 1272833 w 9177714"/>
              <a:gd name="connsiteY6" fmla="*/ 4197223 h 4268698"/>
              <a:gd name="connsiteX7" fmla="*/ 1173434 w 9177714"/>
              <a:gd name="connsiteY7" fmla="*/ 4266113 h 4268698"/>
              <a:gd name="connsiteX8" fmla="*/ 10603 w 9177714"/>
              <a:gd name="connsiteY8" fmla="*/ 4265541 h 4268698"/>
              <a:gd name="connsiteX9" fmla="*/ 10604 w 9177714"/>
              <a:gd name="connsiteY9" fmla="*/ 0 h 42686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9177714" h="4268698">
                <a:moveTo>
                  <a:pt x="10604" y="0"/>
                </a:moveTo>
                <a:lnTo>
                  <a:pt x="9161216" y="9701"/>
                </a:lnTo>
                <a:lnTo>
                  <a:pt x="9161216" y="88"/>
                </a:lnTo>
                <a:cubicBezTo>
                  <a:pt x="9162804" y="1317689"/>
                  <a:pt x="9176126" y="2657279"/>
                  <a:pt x="9177714" y="3974880"/>
                </a:cubicBezTo>
                <a:lnTo>
                  <a:pt x="1362286" y="3975945"/>
                </a:lnTo>
                <a:cubicBezTo>
                  <a:pt x="1324129" y="3980616"/>
                  <a:pt x="1294862" y="3973004"/>
                  <a:pt x="1279953" y="4009884"/>
                </a:cubicBezTo>
                <a:cubicBezTo>
                  <a:pt x="1265044" y="4046764"/>
                  <a:pt x="1276941" y="4145761"/>
                  <a:pt x="1272833" y="4197223"/>
                </a:cubicBezTo>
                <a:cubicBezTo>
                  <a:pt x="1272365" y="4244226"/>
                  <a:pt x="1221664" y="4268698"/>
                  <a:pt x="1173434" y="4266113"/>
                </a:cubicBezTo>
                <a:lnTo>
                  <a:pt x="10603" y="4265541"/>
                </a:lnTo>
                <a:cubicBezTo>
                  <a:pt x="0" y="3520977"/>
                  <a:pt x="7635" y="788799"/>
                  <a:pt x="10604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 hasCustomPrompt="1"/>
          </p:nvPr>
        </p:nvSpPr>
        <p:spPr>
          <a:xfrm>
            <a:off x="1619250" y="404870"/>
            <a:ext cx="6935788" cy="668338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err="1"/>
              <a:t>Chapter</a:t>
            </a:r>
            <a:r>
              <a:rPr lang="sv-SE" dirty="0"/>
              <a:t> </a:t>
            </a:r>
            <a:r>
              <a:rPr lang="sv-SE" dirty="0" err="1"/>
              <a:t>heading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0-07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314480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/>
          </p:nvPr>
        </p:nvSpPr>
        <p:spPr>
          <a:xfrm>
            <a:off x="1619250" y="1582738"/>
            <a:ext cx="6935788" cy="4078287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 dirty="0"/>
          </a:p>
        </p:txBody>
      </p:sp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</p:spPr>
        <p:txBody>
          <a:bodyPr/>
          <a:lstStyle/>
          <a:p>
            <a:r>
              <a:rPr lang="sv-SE"/>
              <a:t>Klicka här för att ändra format</a:t>
            </a:r>
            <a:endParaRPr lang="en-GB" dirty="0"/>
          </a:p>
        </p:txBody>
      </p:sp>
      <p:sp>
        <p:nvSpPr>
          <p:cNvPr id="9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0-07</a:t>
            </a:fld>
            <a:endParaRPr lang="sv-SE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92401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5580112" y="6288509"/>
            <a:ext cx="2133600" cy="365125"/>
          </a:xfrm>
        </p:spPr>
        <p:txBody>
          <a:bodyPr/>
          <a:lstStyle>
            <a:lvl1pPr>
              <a:defRPr sz="1100"/>
            </a:lvl1pPr>
          </a:lstStyle>
          <a:p>
            <a:fld id="{CFCB38AA-14D0-4B67-BE5B-608C5A8A7489}" type="datetimeFigureOut">
              <a:rPr lang="sv-SE" smtClean="0"/>
              <a:pPr/>
              <a:t>2019-10-07</a:t>
            </a:fld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8172399" y="6301410"/>
            <a:ext cx="531863" cy="365125"/>
          </a:xfrm>
        </p:spPr>
        <p:txBody>
          <a:bodyPr/>
          <a:lstStyle>
            <a:lvl1pPr>
              <a:defRPr sz="1100"/>
            </a:lvl1pPr>
          </a:lstStyle>
          <a:p>
            <a:fld id="{680D72F4-1C41-4187-A4BC-492CF086CF40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19250" y="6345300"/>
            <a:ext cx="2895600" cy="365125"/>
          </a:xfrm>
        </p:spPr>
        <p:txBody>
          <a:bodyPr lIns="0" tIns="0" rIns="0" bIns="0" anchor="t"/>
          <a:lstStyle>
            <a:lvl1pPr algn="l">
              <a:lnSpc>
                <a:spcPts val="900"/>
              </a:lnSpc>
              <a:defRPr sz="1100" b="1" cap="all" baseline="0"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5462742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1619250" y="404870"/>
            <a:ext cx="6935788" cy="668338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 dirty="0"/>
              <a:t>Klicka här för att ändra format</a:t>
            </a:r>
            <a:endParaRPr lang="en-GB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1619250" y="1582739"/>
            <a:ext cx="6935788" cy="40782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8964" y="344488"/>
            <a:ext cx="662749" cy="6627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1619250" y="6308725"/>
            <a:ext cx="2895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endParaRPr lang="en-GB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8172399" y="6308725"/>
            <a:ext cx="531863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>
              <a:lnSpc>
                <a:spcPts val="900"/>
              </a:lnSpc>
            </a:pPr>
            <a:fld id="{680D72F4-1C41-4187-A4BC-492CF086CF40}" type="slidenum">
              <a:rPr lang="en-GB" smtClean="0"/>
              <a:pPr>
                <a:lnSpc>
                  <a:spcPts val="900"/>
                </a:lnSpc>
              </a:pPr>
              <a:t>‹#›</a:t>
            </a:fld>
            <a:endParaRPr lang="en-GB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5580112" y="6288509"/>
            <a:ext cx="2133600" cy="36512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>
              <a:defRPr lang="en-GB" sz="700" b="1" cap="all" baseline="0" smtClean="0">
                <a:solidFill>
                  <a:schemeClr val="bg1"/>
                </a:solidFill>
              </a:defRPr>
            </a:lvl1pPr>
          </a:lstStyle>
          <a:p>
            <a:pPr algn="r">
              <a:lnSpc>
                <a:spcPts val="900"/>
              </a:lnSpc>
            </a:pPr>
            <a:fld id="{CFCB38AA-14D0-4B67-BE5B-608C5A8A7489}" type="datetimeFigureOut">
              <a:rPr lang="en-GB" smtClean="0"/>
              <a:pPr algn="r">
                <a:lnSpc>
                  <a:spcPts val="900"/>
                </a:lnSpc>
              </a:pPr>
              <a:t>07/10/2019</a:t>
            </a:fld>
            <a:endParaRPr lang="en-GB" dirty="0"/>
          </a:p>
        </p:txBody>
      </p:sp>
      <p:sp>
        <p:nvSpPr>
          <p:cNvPr id="9" name="Rektangel 12"/>
          <p:cNvSpPr/>
          <p:nvPr/>
        </p:nvSpPr>
        <p:spPr>
          <a:xfrm>
            <a:off x="0" y="5971378"/>
            <a:ext cx="9144000" cy="908720"/>
          </a:xfrm>
          <a:custGeom>
            <a:avLst/>
            <a:gdLst>
              <a:gd name="connsiteX0" fmla="*/ 1360291 w 9144000"/>
              <a:gd name="connsiteY0" fmla="*/ 0 h 908720"/>
              <a:gd name="connsiteX1" fmla="*/ 9144000 w 9144000"/>
              <a:gd name="connsiteY1" fmla="*/ 0 h 908720"/>
              <a:gd name="connsiteX2" fmla="*/ 9144000 w 9144000"/>
              <a:gd name="connsiteY2" fmla="*/ 262632 h 908720"/>
              <a:gd name="connsiteX3" fmla="*/ 9144000 w 9144000"/>
              <a:gd name="connsiteY3" fmla="*/ 328588 h 908720"/>
              <a:gd name="connsiteX4" fmla="*/ 9144000 w 9144000"/>
              <a:gd name="connsiteY4" fmla="*/ 808061 h 908720"/>
              <a:gd name="connsiteX5" fmla="*/ 9144000 w 9144000"/>
              <a:gd name="connsiteY5" fmla="*/ 883320 h 908720"/>
              <a:gd name="connsiteX6" fmla="*/ 9144000 w 9144000"/>
              <a:gd name="connsiteY6" fmla="*/ 904652 h 908720"/>
              <a:gd name="connsiteX7" fmla="*/ 9065179 w 9144000"/>
              <a:gd name="connsiteY7" fmla="*/ 904652 h 908720"/>
              <a:gd name="connsiteX8" fmla="*/ 9043341 w 9144000"/>
              <a:gd name="connsiteY8" fmla="*/ 908720 h 908720"/>
              <a:gd name="connsiteX9" fmla="*/ 1259632 w 9144000"/>
              <a:gd name="connsiteY9" fmla="*/ 908720 h 908720"/>
              <a:gd name="connsiteX10" fmla="*/ 1259632 w 9144000"/>
              <a:gd name="connsiteY10" fmla="*/ 904652 h 908720"/>
              <a:gd name="connsiteX11" fmla="*/ 0 w 9144000"/>
              <a:gd name="connsiteY11" fmla="*/ 904652 h 908720"/>
              <a:gd name="connsiteX12" fmla="*/ 0 w 9144000"/>
              <a:gd name="connsiteY12" fmla="*/ 883320 h 908720"/>
              <a:gd name="connsiteX13" fmla="*/ 0 w 9144000"/>
              <a:gd name="connsiteY13" fmla="*/ 328588 h 908720"/>
              <a:gd name="connsiteX14" fmla="*/ 0 w 9144000"/>
              <a:gd name="connsiteY14" fmla="*/ 314003 h 908720"/>
              <a:gd name="connsiteX15" fmla="*/ 901401 w 9144000"/>
              <a:gd name="connsiteY15" fmla="*/ 314003 h 908720"/>
              <a:gd name="connsiteX16" fmla="*/ 1026319 w 9144000"/>
              <a:gd name="connsiteY16" fmla="*/ 314003 h 908720"/>
              <a:gd name="connsiteX17" fmla="*/ 1194387 w 9144000"/>
              <a:gd name="connsiteY17" fmla="*/ 314003 h 908720"/>
              <a:gd name="connsiteX18" fmla="*/ 1258275 w 9144000"/>
              <a:gd name="connsiteY18" fmla="*/ 262632 h 908720"/>
              <a:gd name="connsiteX19" fmla="*/ 1259632 w 9144000"/>
              <a:gd name="connsiteY19" fmla="*/ 262632 h 908720"/>
              <a:gd name="connsiteX20" fmla="*/ 1259632 w 9144000"/>
              <a:gd name="connsiteY20" fmla="*/ 255909 h 908720"/>
              <a:gd name="connsiteX21" fmla="*/ 1261441 w 9144000"/>
              <a:gd name="connsiteY21" fmla="*/ 246949 h 908720"/>
              <a:gd name="connsiteX22" fmla="*/ 1261441 w 9144000"/>
              <a:gd name="connsiteY22" fmla="*/ 91699 h 908720"/>
              <a:gd name="connsiteX23" fmla="*/ 1360291 w 9144000"/>
              <a:gd name="connsiteY23" fmla="*/ 0 h 908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144000" h="908720">
                <a:moveTo>
                  <a:pt x="1360291" y="0"/>
                </a:moveTo>
                <a:lnTo>
                  <a:pt x="9144000" y="0"/>
                </a:lnTo>
                <a:lnTo>
                  <a:pt x="9144000" y="262632"/>
                </a:lnTo>
                <a:lnTo>
                  <a:pt x="9144000" y="328588"/>
                </a:lnTo>
                <a:lnTo>
                  <a:pt x="9144000" y="808061"/>
                </a:lnTo>
                <a:lnTo>
                  <a:pt x="9144000" y="883320"/>
                </a:lnTo>
                <a:lnTo>
                  <a:pt x="9144000" y="904652"/>
                </a:lnTo>
                <a:lnTo>
                  <a:pt x="9065179" y="904652"/>
                </a:lnTo>
                <a:cubicBezTo>
                  <a:pt x="9058414" y="907870"/>
                  <a:pt x="9050977" y="908720"/>
                  <a:pt x="9043341" y="908720"/>
                </a:cubicBezTo>
                <a:lnTo>
                  <a:pt x="1259632" y="908720"/>
                </a:lnTo>
                <a:lnTo>
                  <a:pt x="1259632" y="904652"/>
                </a:lnTo>
                <a:lnTo>
                  <a:pt x="0" y="904652"/>
                </a:lnTo>
                <a:lnTo>
                  <a:pt x="0" y="883320"/>
                </a:lnTo>
                <a:lnTo>
                  <a:pt x="0" y="328588"/>
                </a:lnTo>
                <a:lnTo>
                  <a:pt x="0" y="314003"/>
                </a:lnTo>
                <a:lnTo>
                  <a:pt x="901401" y="314003"/>
                </a:lnTo>
                <a:lnTo>
                  <a:pt x="1026319" y="314003"/>
                </a:lnTo>
                <a:lnTo>
                  <a:pt x="1194387" y="314003"/>
                </a:lnTo>
                <a:cubicBezTo>
                  <a:pt x="1225910" y="314003"/>
                  <a:pt x="1252353" y="292251"/>
                  <a:pt x="1258275" y="262632"/>
                </a:cubicBezTo>
                <a:lnTo>
                  <a:pt x="1259632" y="262632"/>
                </a:lnTo>
                <a:lnTo>
                  <a:pt x="1259632" y="255909"/>
                </a:lnTo>
                <a:lnTo>
                  <a:pt x="1261441" y="246949"/>
                </a:lnTo>
                <a:lnTo>
                  <a:pt x="1261441" y="91699"/>
                </a:lnTo>
                <a:cubicBezTo>
                  <a:pt x="1264629" y="40239"/>
                  <a:pt x="1260136" y="0"/>
                  <a:pt x="13602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1305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66" r:id="rId2"/>
    <p:sldLayoutId id="2147483677" r:id="rId3"/>
    <p:sldLayoutId id="2147483668" r:id="rId4"/>
    <p:sldLayoutId id="2147483669" r:id="rId5"/>
    <p:sldLayoutId id="2147483670" r:id="rId6"/>
    <p:sldLayoutId id="2147483674" r:id="rId7"/>
    <p:sldLayoutId id="2147483672" r:id="rId8"/>
    <p:sldLayoutId id="2147483673" r:id="rId9"/>
    <p:sldLayoutId id="2147483665" r:id="rId10"/>
  </p:sldLayoutIdLst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3556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23900" indent="-3683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352425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35113" indent="-457200" algn="l" defTabSz="914400" rtl="0" eaLnBrk="1" latinLnBrk="0" hangingPunct="1">
        <a:lnSpc>
          <a:spcPct val="100000"/>
        </a:lnSpc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17.tif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59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hysics potential of the </a:t>
            </a:r>
            <a:r>
              <a:rPr lang="en-US" dirty="0" err="1"/>
              <a:t>ESS</a:t>
            </a:r>
            <a:r>
              <a:rPr lang="en-US" dirty="0" err="1">
                <a:latin typeface="Symbol" pitchFamily="2" charset="2"/>
              </a:rPr>
              <a:t>n</a:t>
            </a:r>
            <a:r>
              <a:rPr lang="en-US" dirty="0" err="1"/>
              <a:t>SB</a:t>
            </a:r>
            <a:endParaRPr lang="sv-SE" dirty="0"/>
          </a:p>
        </p:txBody>
      </p:sp>
      <p:sp>
        <p:nvSpPr>
          <p:cNvPr id="6" name="Underrubrik 5"/>
          <p:cNvSpPr>
            <a:spLocks noGrp="1"/>
          </p:cNvSpPr>
          <p:nvPr>
            <p:ph type="subTitle" idx="1"/>
          </p:nvPr>
        </p:nvSpPr>
        <p:spPr>
          <a:xfrm>
            <a:off x="1567963" y="2276871"/>
            <a:ext cx="6987075" cy="1321461"/>
          </a:xfrm>
        </p:spPr>
        <p:txBody>
          <a:bodyPr>
            <a:normAutofit/>
          </a:bodyPr>
          <a:lstStyle/>
          <a:p>
            <a:r>
              <a:rPr lang="sv-SE" sz="2900" dirty="0"/>
              <a:t>Mattias Blennow</a:t>
            </a:r>
          </a:p>
          <a:p>
            <a:r>
              <a:rPr lang="sv-SE" sz="2900" dirty="0"/>
              <a:t>KTH </a:t>
            </a:r>
            <a:r>
              <a:rPr lang="sv-SE" sz="2900" dirty="0" err="1"/>
              <a:t>Physics</a:t>
            </a:r>
            <a:endParaRPr lang="sv-SE" sz="2900" dirty="0"/>
          </a:p>
          <a:p>
            <a:r>
              <a:rPr lang="sv-SE" sz="2900" dirty="0"/>
              <a:t>@ PPNT 2019, Uppsala, Sweden</a:t>
            </a:r>
          </a:p>
        </p:txBody>
      </p:sp>
      <p:sp>
        <p:nvSpPr>
          <p:cNvPr id="4" name="Line 6"/>
          <p:cNvSpPr>
            <a:spLocks noChangeShapeType="1"/>
          </p:cNvSpPr>
          <p:nvPr/>
        </p:nvSpPr>
        <p:spPr bwMode="auto">
          <a:xfrm>
            <a:off x="-1375645" y="5596697"/>
            <a:ext cx="0" cy="0"/>
          </a:xfrm>
          <a:prstGeom prst="line">
            <a:avLst/>
          </a:prstGeom>
          <a:noFill/>
          <a:ln w="3" cap="flat">
            <a:solidFill>
              <a:schemeClr val="bg1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C3EC84F-786D-0F4E-BEE1-8EE920FA34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4099" y="158837"/>
            <a:ext cx="2099588" cy="54525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9FDD659-5AEC-134D-ADB5-CD479C2E61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6684" y="719899"/>
            <a:ext cx="2191620" cy="6271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5751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A602E2B-12D3-514B-A5CD-DCF32F6BFE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Comparisons</a:t>
            </a:r>
            <a:r>
              <a:rPr lang="sv-SE" dirty="0"/>
              <a:t> to T2HK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F83CBC5-50B2-A644-9EE5-6032AA797A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6596" y="1422400"/>
            <a:ext cx="8259104" cy="39751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09728899-1C3F-A44D-8ED2-9BDEF36AEAB6}"/>
              </a:ext>
            </a:extLst>
          </p:cNvPr>
          <p:cNvSpPr txBox="1"/>
          <p:nvPr/>
        </p:nvSpPr>
        <p:spPr>
          <a:xfrm>
            <a:off x="6407238" y="5586325"/>
            <a:ext cx="25731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Ghosh</a:t>
            </a:r>
            <a:r>
              <a:rPr lang="sv-SE" sz="1200" i="1" dirty="0"/>
              <a:t>, Ohlsson, arXiv:1906.05779</a:t>
            </a:r>
          </a:p>
        </p:txBody>
      </p:sp>
    </p:spTree>
    <p:extLst>
      <p:ext uri="{BB962C8B-B14F-4D97-AF65-F5344CB8AC3E}">
        <p14:creationId xmlns:p14="http://schemas.microsoft.com/office/powerpoint/2010/main" val="48916207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116E99-48DF-BE43-B598-955DC2CA528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3834" t="5616" r="-15609"/>
          <a:stretch/>
        </p:blipFill>
        <p:spPr>
          <a:xfrm>
            <a:off x="1027134" y="0"/>
            <a:ext cx="7653403" cy="59719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CF1DCAA-C4E3-6746-949C-A219218486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8212" y="379818"/>
            <a:ext cx="6935788" cy="668338"/>
          </a:xfrm>
        </p:spPr>
        <p:txBody>
          <a:bodyPr/>
          <a:lstStyle/>
          <a:p>
            <a:r>
              <a:rPr lang="sv-SE" dirty="0" err="1"/>
              <a:t>Adding</a:t>
            </a:r>
            <a:r>
              <a:rPr lang="sv-SE" dirty="0"/>
              <a:t> </a:t>
            </a:r>
            <a:r>
              <a:rPr lang="sv-SE" dirty="0" err="1"/>
              <a:t>atmospheric</a:t>
            </a:r>
            <a:r>
              <a:rPr lang="sv-SE" dirty="0"/>
              <a:t> neutrino data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E713CF7-63B2-4D43-9E9F-8ED9912B900B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4162033" y="1607792"/>
                <a:ext cx="3729364" cy="4078286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dirty="0"/>
                  <a:t>A megaton WC </a:t>
                </a:r>
                <a:r>
                  <a:rPr lang="sv-SE" dirty="0" err="1"/>
                  <a:t>detector</a:t>
                </a:r>
                <a:r>
                  <a:rPr lang="sv-SE" dirty="0"/>
                  <a:t> </a:t>
                </a:r>
                <a:r>
                  <a:rPr lang="sv-SE" dirty="0" err="1"/>
                  <a:t>will</a:t>
                </a:r>
                <a:r>
                  <a:rPr lang="sv-SE" dirty="0"/>
                  <a:t> </a:t>
                </a:r>
                <a:r>
                  <a:rPr lang="sv-SE" dirty="0" err="1"/>
                  <a:t>collect</a:t>
                </a:r>
                <a:r>
                  <a:rPr lang="sv-SE" dirty="0"/>
                  <a:t> a </a:t>
                </a:r>
                <a:r>
                  <a:rPr lang="sv-SE" dirty="0" err="1"/>
                  <a:t>significant</a:t>
                </a:r>
                <a:r>
                  <a:rPr lang="sv-SE" dirty="0"/>
                  <a:t> </a:t>
                </a:r>
                <a:r>
                  <a:rPr lang="sv-SE" dirty="0" err="1"/>
                  <a:t>sample</a:t>
                </a:r>
                <a:r>
                  <a:rPr lang="sv-SE" dirty="0"/>
                  <a:t> </a:t>
                </a:r>
                <a:r>
                  <a:rPr lang="sv-SE" dirty="0" err="1"/>
                  <a:t>of</a:t>
                </a:r>
                <a:r>
                  <a:rPr lang="sv-SE" dirty="0"/>
                  <a:t> </a:t>
                </a:r>
                <a:r>
                  <a:rPr lang="sv-SE" dirty="0" err="1"/>
                  <a:t>atmospheric</a:t>
                </a:r>
                <a:r>
                  <a:rPr lang="sv-SE" dirty="0"/>
                  <a:t> neutrinos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sv-SE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dirty="0"/>
                  <a:t>Will </a:t>
                </a:r>
                <a:r>
                  <a:rPr lang="sv-SE" dirty="0" err="1"/>
                  <a:t>add</a:t>
                </a:r>
                <a:r>
                  <a:rPr lang="sv-SE" dirty="0"/>
                  <a:t> </a:t>
                </a:r>
                <a:r>
                  <a:rPr lang="sv-SE" dirty="0" err="1"/>
                  <a:t>crucial</a:t>
                </a:r>
                <a:r>
                  <a:rPr lang="sv-SE" dirty="0"/>
                  <a:t> information for the oscillation </a:t>
                </a:r>
                <a:r>
                  <a:rPr lang="sv-SE" dirty="0" err="1"/>
                  <a:t>analysis</a:t>
                </a:r>
                <a:endParaRPr lang="sv-SE" dirty="0"/>
              </a:p>
              <a:p>
                <a:pPr marL="698500" lvl="1" indent="-342900"/>
                <a:r>
                  <a:rPr lang="sv-SE" dirty="0" err="1"/>
                  <a:t>Octant</a:t>
                </a:r>
                <a:r>
                  <a:rPr lang="sv-SE" dirty="0"/>
                  <a:t> </a:t>
                </a:r>
                <a:r>
                  <a:rPr lang="sv-SE" dirty="0" err="1"/>
                  <a:t>sensitivity</a:t>
                </a:r>
                <a:r>
                  <a:rPr lang="sv-SE" dirty="0"/>
                  <a:t>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𝜃</m:t>
                        </m:r>
                      </m:e>
                      <m:sub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23</m:t>
                        </m:r>
                      </m:sub>
                    </m:sSub>
                  </m:oMath>
                </a14:m>
                <a:endParaRPr lang="sv-SE" dirty="0"/>
              </a:p>
              <a:p>
                <a:pPr marL="698500" lvl="1" indent="-342900"/>
                <a:r>
                  <a:rPr lang="sv-SE" dirty="0" err="1"/>
                  <a:t>Hierarchy</a:t>
                </a:r>
                <a:r>
                  <a:rPr lang="sv-SE" dirty="0"/>
                  <a:t> </a:t>
                </a:r>
                <a:r>
                  <a:rPr lang="sv-SE" dirty="0" err="1"/>
                  <a:t>sensitivity</a:t>
                </a:r>
                <a:endParaRPr lang="sv-SE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FE713CF7-63B2-4D43-9E9F-8ED9912B900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4162033" y="1607792"/>
                <a:ext cx="3729364" cy="4078286"/>
              </a:xfrm>
              <a:blipFill>
                <a:blip r:embed="rId3"/>
                <a:stretch>
                  <a:fillRect l="-3741" t="-1863" r="-1701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extBox 4">
            <a:extLst>
              <a:ext uri="{FF2B5EF4-FFF2-40B4-BE49-F238E27FC236}">
                <a16:creationId xmlns:a16="http://schemas.microsoft.com/office/drawing/2014/main" id="{DB921051-5B78-8045-9B7F-574A02600EAF}"/>
              </a:ext>
            </a:extLst>
          </p:cNvPr>
          <p:cNvSpPr txBox="1"/>
          <p:nvPr/>
        </p:nvSpPr>
        <p:spPr>
          <a:xfrm rot="16200000">
            <a:off x="-968827" y="4016918"/>
            <a:ext cx="372621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Kajita</a:t>
            </a:r>
            <a:r>
              <a:rPr lang="sv-SE" sz="1200" i="1" dirty="0"/>
              <a:t>, </a:t>
            </a:r>
            <a:r>
              <a:rPr lang="sv-SE" sz="1200" i="1" dirty="0" err="1"/>
              <a:t>Proceedings</a:t>
            </a:r>
            <a:r>
              <a:rPr lang="sv-SE" sz="1200" i="1" dirty="0"/>
              <a:t> </a:t>
            </a:r>
            <a:r>
              <a:rPr lang="sv-SE" sz="1200" i="1" dirty="0" err="1"/>
              <a:t>of</a:t>
            </a:r>
            <a:r>
              <a:rPr lang="sv-SE" sz="1200" i="1" dirty="0"/>
              <a:t> the Japan Academy, Series B</a:t>
            </a:r>
          </a:p>
        </p:txBody>
      </p:sp>
    </p:spTree>
    <p:extLst>
      <p:ext uri="{BB962C8B-B14F-4D97-AF65-F5344CB8AC3E}">
        <p14:creationId xmlns:p14="http://schemas.microsoft.com/office/powerpoint/2010/main" val="17333781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BB73F4-5BFD-0946-89DB-35ABFC4A27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Mass</a:t>
            </a:r>
            <a:r>
              <a:rPr lang="sv-SE" dirty="0"/>
              <a:t> </a:t>
            </a:r>
            <a:r>
              <a:rPr lang="sv-SE" dirty="0" err="1"/>
              <a:t>hierarchy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EC31273-9342-A843-B283-E7B1F382EC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79112" y="1152447"/>
            <a:ext cx="5999968" cy="467794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12BC8E7-110B-B941-A5B7-4279E705C747}"/>
              </a:ext>
            </a:extLst>
          </p:cNvPr>
          <p:cNvSpPr txBox="1"/>
          <p:nvPr/>
        </p:nvSpPr>
        <p:spPr>
          <a:xfrm rot="2323066">
            <a:off x="5863257" y="1886778"/>
            <a:ext cx="22940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b="1" dirty="0" err="1">
                <a:solidFill>
                  <a:srgbClr val="FF0000"/>
                </a:solidFill>
              </a:rPr>
              <a:t>ESS</a:t>
            </a:r>
            <a:r>
              <a:rPr lang="sv-SE" sz="2400" b="1" dirty="0" err="1">
                <a:solidFill>
                  <a:srgbClr val="FF0000"/>
                </a:solidFill>
                <a:latin typeface="Symbol" pitchFamily="2" charset="2"/>
              </a:rPr>
              <a:t>n</a:t>
            </a:r>
            <a:r>
              <a:rPr lang="sv-SE" sz="2400" b="1" dirty="0" err="1">
                <a:solidFill>
                  <a:srgbClr val="FF0000"/>
                </a:solidFill>
              </a:rPr>
              <a:t>SB</a:t>
            </a:r>
            <a:r>
              <a:rPr lang="sv-SE" sz="2400" b="1" dirty="0">
                <a:solidFill>
                  <a:srgbClr val="FF0000"/>
                </a:solidFill>
              </a:rPr>
              <a:t> WP6</a:t>
            </a:r>
          </a:p>
          <a:p>
            <a:r>
              <a:rPr lang="sv-SE" sz="2400" b="1" dirty="0">
                <a:solidFill>
                  <a:srgbClr val="FF0000"/>
                </a:solidFill>
              </a:rPr>
              <a:t>PRELIMINA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7B83300-00DE-8E45-90CB-885370481B7E}"/>
              </a:ext>
            </a:extLst>
          </p:cNvPr>
          <p:cNvSpPr txBox="1"/>
          <p:nvPr/>
        </p:nvSpPr>
        <p:spPr>
          <a:xfrm rot="16200000">
            <a:off x="7118438" y="4405225"/>
            <a:ext cx="1781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Courtesy</a:t>
            </a:r>
            <a:r>
              <a:rPr lang="sv-SE" sz="1200" i="1" dirty="0"/>
              <a:t> </a:t>
            </a:r>
            <a:r>
              <a:rPr lang="sv-SE" sz="1200" i="1" dirty="0" err="1"/>
              <a:t>of</a:t>
            </a:r>
            <a:r>
              <a:rPr lang="sv-SE" sz="1200" i="1" dirty="0"/>
              <a:t> S. </a:t>
            </a:r>
            <a:r>
              <a:rPr lang="sv-SE" sz="1200" i="1" dirty="0" err="1"/>
              <a:t>Rosauro</a:t>
            </a:r>
            <a:endParaRPr lang="sv-SE" sz="1200" i="1" dirty="0"/>
          </a:p>
        </p:txBody>
      </p:sp>
    </p:spTree>
    <p:extLst>
      <p:ext uri="{BB962C8B-B14F-4D97-AF65-F5344CB8AC3E}">
        <p14:creationId xmlns:p14="http://schemas.microsoft.com/office/powerpoint/2010/main" val="28867225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E9838-F1DB-E147-BCE5-2D1C53D72E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Octant</a:t>
            </a:r>
            <a:r>
              <a:rPr lang="sv-SE" dirty="0"/>
              <a:t> </a:t>
            </a:r>
            <a:r>
              <a:rPr lang="sv-SE" dirty="0" err="1"/>
              <a:t>sensitivity</a:t>
            </a:r>
            <a:endParaRPr lang="sv-S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F8CEE1-F9D2-DC4C-B000-62D5D7B844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5631" y="1114817"/>
            <a:ext cx="6298707" cy="48200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52C98AF-F237-9E47-BCFB-EF0592050ACC}"/>
              </a:ext>
            </a:extLst>
          </p:cNvPr>
          <p:cNvSpPr txBox="1"/>
          <p:nvPr/>
        </p:nvSpPr>
        <p:spPr>
          <a:xfrm rot="2323066">
            <a:off x="5863257" y="1886778"/>
            <a:ext cx="22940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b="1" dirty="0" err="1">
                <a:solidFill>
                  <a:srgbClr val="FF0000"/>
                </a:solidFill>
              </a:rPr>
              <a:t>ESS</a:t>
            </a:r>
            <a:r>
              <a:rPr lang="sv-SE" sz="2400" b="1" dirty="0" err="1">
                <a:solidFill>
                  <a:srgbClr val="FF0000"/>
                </a:solidFill>
                <a:latin typeface="Symbol" pitchFamily="2" charset="2"/>
              </a:rPr>
              <a:t>n</a:t>
            </a:r>
            <a:r>
              <a:rPr lang="sv-SE" sz="2400" b="1" dirty="0" err="1">
                <a:solidFill>
                  <a:srgbClr val="FF0000"/>
                </a:solidFill>
              </a:rPr>
              <a:t>SB</a:t>
            </a:r>
            <a:r>
              <a:rPr lang="sv-SE" sz="2400" b="1" dirty="0">
                <a:solidFill>
                  <a:srgbClr val="FF0000"/>
                </a:solidFill>
              </a:rPr>
              <a:t> WP6</a:t>
            </a:r>
          </a:p>
          <a:p>
            <a:r>
              <a:rPr lang="sv-SE" sz="2400" b="1" dirty="0">
                <a:solidFill>
                  <a:srgbClr val="FF0000"/>
                </a:solidFill>
              </a:rPr>
              <a:t>PRELIMIN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F622580-3DFA-594C-A6E9-4352CA4A504C}"/>
              </a:ext>
            </a:extLst>
          </p:cNvPr>
          <p:cNvSpPr txBox="1"/>
          <p:nvPr/>
        </p:nvSpPr>
        <p:spPr>
          <a:xfrm rot="16200000">
            <a:off x="7118438" y="4405225"/>
            <a:ext cx="1781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Courtesy</a:t>
            </a:r>
            <a:r>
              <a:rPr lang="sv-SE" sz="1200" i="1" dirty="0"/>
              <a:t> </a:t>
            </a:r>
            <a:r>
              <a:rPr lang="sv-SE" sz="1200" i="1" dirty="0" err="1"/>
              <a:t>of</a:t>
            </a:r>
            <a:r>
              <a:rPr lang="sv-SE" sz="1200" i="1" dirty="0"/>
              <a:t> S. </a:t>
            </a:r>
            <a:r>
              <a:rPr lang="sv-SE" sz="1200" i="1" dirty="0" err="1"/>
              <a:t>Rosauro</a:t>
            </a:r>
            <a:endParaRPr lang="sv-SE" sz="1200" i="1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649F523-C78B-E048-AE0A-0A1FACA301B5}"/>
              </a:ext>
            </a:extLst>
          </p:cNvPr>
          <p:cNvCxnSpPr/>
          <p:nvPr/>
        </p:nvCxnSpPr>
        <p:spPr>
          <a:xfrm flipV="1">
            <a:off x="6626268" y="2530258"/>
            <a:ext cx="0" cy="2956142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00753296-2941-2D4C-93F9-D3D91F0D5718}"/>
              </a:ext>
            </a:extLst>
          </p:cNvPr>
          <p:cNvSpPr txBox="1"/>
          <p:nvPr/>
        </p:nvSpPr>
        <p:spPr>
          <a:xfrm rot="16200000">
            <a:off x="5969001" y="4419600"/>
            <a:ext cx="17107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dirty="0" err="1">
                <a:solidFill>
                  <a:schemeClr val="accent3"/>
                </a:solidFill>
              </a:rPr>
              <a:t>Current</a:t>
            </a:r>
            <a:r>
              <a:rPr lang="sv-SE" dirty="0">
                <a:solidFill>
                  <a:schemeClr val="accent3"/>
                </a:solidFill>
              </a:rPr>
              <a:t> best-fi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C8BBFC-539E-3142-90A3-C5D9562648C9}"/>
              </a:ext>
            </a:extLst>
          </p:cNvPr>
          <p:cNvCxnSpPr/>
          <p:nvPr/>
        </p:nvCxnSpPr>
        <p:spPr>
          <a:xfrm flipH="1">
            <a:off x="2349500" y="4343400"/>
            <a:ext cx="4279900" cy="0"/>
          </a:xfrm>
          <a:prstGeom prst="line">
            <a:avLst/>
          </a:prstGeom>
          <a:ln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2502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AC2C0C-00E6-814B-8115-59C484636E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CP </a:t>
            </a:r>
            <a:r>
              <a:rPr lang="sv-SE" dirty="0" err="1"/>
              <a:t>sensitivity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930B84-B7E6-4944-9CED-DDC099DC52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8904" y="1113827"/>
            <a:ext cx="6087649" cy="47900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FB7E68D-ECC7-AC48-AEE8-39625EF2DCB5}"/>
              </a:ext>
            </a:extLst>
          </p:cNvPr>
          <p:cNvSpPr txBox="1"/>
          <p:nvPr/>
        </p:nvSpPr>
        <p:spPr>
          <a:xfrm rot="2323066">
            <a:off x="5863257" y="1886778"/>
            <a:ext cx="22940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b="1" dirty="0" err="1">
                <a:solidFill>
                  <a:srgbClr val="FF0000"/>
                </a:solidFill>
              </a:rPr>
              <a:t>ESS</a:t>
            </a:r>
            <a:r>
              <a:rPr lang="sv-SE" sz="2400" b="1" dirty="0" err="1">
                <a:solidFill>
                  <a:srgbClr val="FF0000"/>
                </a:solidFill>
                <a:latin typeface="Symbol" pitchFamily="2" charset="2"/>
              </a:rPr>
              <a:t>n</a:t>
            </a:r>
            <a:r>
              <a:rPr lang="sv-SE" sz="2400" b="1" dirty="0" err="1">
                <a:solidFill>
                  <a:srgbClr val="FF0000"/>
                </a:solidFill>
              </a:rPr>
              <a:t>SB</a:t>
            </a:r>
            <a:r>
              <a:rPr lang="sv-SE" sz="2400" b="1" dirty="0">
                <a:solidFill>
                  <a:srgbClr val="FF0000"/>
                </a:solidFill>
              </a:rPr>
              <a:t> WP6</a:t>
            </a:r>
          </a:p>
          <a:p>
            <a:r>
              <a:rPr lang="sv-SE" sz="2400" b="1" dirty="0">
                <a:solidFill>
                  <a:srgbClr val="FF0000"/>
                </a:solidFill>
              </a:rPr>
              <a:t>PRELIMINAR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F8CE7FE-3867-CE47-A9A8-87D791F95BB3}"/>
              </a:ext>
            </a:extLst>
          </p:cNvPr>
          <p:cNvSpPr txBox="1"/>
          <p:nvPr/>
        </p:nvSpPr>
        <p:spPr>
          <a:xfrm rot="16200000">
            <a:off x="7118438" y="4405225"/>
            <a:ext cx="1781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Courtesy</a:t>
            </a:r>
            <a:r>
              <a:rPr lang="sv-SE" sz="1200" i="1" dirty="0"/>
              <a:t> </a:t>
            </a:r>
            <a:r>
              <a:rPr lang="sv-SE" sz="1200" i="1" dirty="0" err="1"/>
              <a:t>of</a:t>
            </a:r>
            <a:r>
              <a:rPr lang="sv-SE" sz="1200" i="1" dirty="0"/>
              <a:t> S. </a:t>
            </a:r>
            <a:r>
              <a:rPr lang="sv-SE" sz="1200" i="1" dirty="0" err="1"/>
              <a:t>Rosauro</a:t>
            </a:r>
            <a:endParaRPr lang="sv-SE" sz="1200" i="1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531F845-3FA4-024E-94E3-5A2881648C93}"/>
              </a:ext>
            </a:extLst>
          </p:cNvPr>
          <p:cNvCxnSpPr/>
          <p:nvPr/>
        </p:nvCxnSpPr>
        <p:spPr>
          <a:xfrm>
            <a:off x="2463800" y="4419600"/>
            <a:ext cx="53975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703362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3E2DD-194B-A644-972F-77C6386EA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CP precision @ 540 km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1F50E1A-4FC4-1841-A9E7-B640D6F347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5545" y="1212318"/>
            <a:ext cx="6080429" cy="463107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03711E4-0D7F-7C44-8B93-8A0629EAB52A}"/>
              </a:ext>
            </a:extLst>
          </p:cNvPr>
          <p:cNvSpPr txBox="1"/>
          <p:nvPr/>
        </p:nvSpPr>
        <p:spPr>
          <a:xfrm rot="2323066">
            <a:off x="6176407" y="2450448"/>
            <a:ext cx="22940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b="1" dirty="0" err="1">
                <a:solidFill>
                  <a:srgbClr val="FF0000"/>
                </a:solidFill>
              </a:rPr>
              <a:t>ESS</a:t>
            </a:r>
            <a:r>
              <a:rPr lang="sv-SE" sz="2400" b="1" dirty="0" err="1">
                <a:solidFill>
                  <a:srgbClr val="FF0000"/>
                </a:solidFill>
                <a:latin typeface="Symbol" pitchFamily="2" charset="2"/>
              </a:rPr>
              <a:t>n</a:t>
            </a:r>
            <a:r>
              <a:rPr lang="sv-SE" sz="2400" b="1" dirty="0" err="1">
                <a:solidFill>
                  <a:srgbClr val="FF0000"/>
                </a:solidFill>
              </a:rPr>
              <a:t>SB</a:t>
            </a:r>
            <a:r>
              <a:rPr lang="sv-SE" sz="2400" b="1" dirty="0">
                <a:solidFill>
                  <a:srgbClr val="FF0000"/>
                </a:solidFill>
              </a:rPr>
              <a:t> WP6</a:t>
            </a:r>
          </a:p>
          <a:p>
            <a:r>
              <a:rPr lang="sv-SE" sz="2400" b="1" dirty="0">
                <a:solidFill>
                  <a:srgbClr val="FF0000"/>
                </a:solidFill>
              </a:rPr>
              <a:t>PRELIMINAR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040CA0-3166-7445-9B10-C1B2DA0531E0}"/>
              </a:ext>
            </a:extLst>
          </p:cNvPr>
          <p:cNvSpPr txBox="1"/>
          <p:nvPr/>
        </p:nvSpPr>
        <p:spPr>
          <a:xfrm rot="16200000">
            <a:off x="6629922" y="4417750"/>
            <a:ext cx="1781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Courtesy</a:t>
            </a:r>
            <a:r>
              <a:rPr lang="sv-SE" sz="1200" i="1" dirty="0"/>
              <a:t> </a:t>
            </a:r>
            <a:r>
              <a:rPr lang="sv-SE" sz="1200" i="1" dirty="0" err="1"/>
              <a:t>of</a:t>
            </a:r>
            <a:r>
              <a:rPr lang="sv-SE" sz="1200" i="1" dirty="0"/>
              <a:t> S. </a:t>
            </a:r>
            <a:r>
              <a:rPr lang="sv-SE" sz="1200" i="1" dirty="0" err="1"/>
              <a:t>Rosauro</a:t>
            </a:r>
            <a:endParaRPr lang="sv-SE" sz="1200" i="1" dirty="0"/>
          </a:p>
        </p:txBody>
      </p:sp>
    </p:spTree>
    <p:extLst>
      <p:ext uri="{BB962C8B-B14F-4D97-AF65-F5344CB8AC3E}">
        <p14:creationId xmlns:p14="http://schemas.microsoft.com/office/powerpoint/2010/main" val="14153461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3E2DD-194B-A644-972F-77C6386EA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CP precision @ 360 km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1DF733B-CBA4-5A4C-B8F0-CC7D410E71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40908" y="1279423"/>
            <a:ext cx="5917069" cy="4519866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8D79184-07FF-A44C-988A-19CD0580906E}"/>
              </a:ext>
            </a:extLst>
          </p:cNvPr>
          <p:cNvSpPr txBox="1"/>
          <p:nvPr/>
        </p:nvSpPr>
        <p:spPr>
          <a:xfrm rot="2323066">
            <a:off x="6239037" y="2713494"/>
            <a:ext cx="229402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400" b="1" dirty="0" err="1">
                <a:solidFill>
                  <a:srgbClr val="FF0000"/>
                </a:solidFill>
              </a:rPr>
              <a:t>ESS</a:t>
            </a:r>
            <a:r>
              <a:rPr lang="sv-SE" sz="2400" b="1" dirty="0" err="1">
                <a:solidFill>
                  <a:srgbClr val="FF0000"/>
                </a:solidFill>
                <a:latin typeface="Symbol" pitchFamily="2" charset="2"/>
              </a:rPr>
              <a:t>n</a:t>
            </a:r>
            <a:r>
              <a:rPr lang="sv-SE" sz="2400" b="1" dirty="0" err="1">
                <a:solidFill>
                  <a:srgbClr val="FF0000"/>
                </a:solidFill>
              </a:rPr>
              <a:t>SB</a:t>
            </a:r>
            <a:r>
              <a:rPr lang="sv-SE" sz="2400" b="1" dirty="0">
                <a:solidFill>
                  <a:srgbClr val="FF0000"/>
                </a:solidFill>
              </a:rPr>
              <a:t> WP6</a:t>
            </a:r>
          </a:p>
          <a:p>
            <a:r>
              <a:rPr lang="sv-SE" sz="2400" b="1" dirty="0">
                <a:solidFill>
                  <a:srgbClr val="FF0000"/>
                </a:solidFill>
              </a:rPr>
              <a:t>PRELIMINARY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B6B0CC-E52B-BF4D-93A5-921102F2BBCA}"/>
              </a:ext>
            </a:extLst>
          </p:cNvPr>
          <p:cNvSpPr txBox="1"/>
          <p:nvPr/>
        </p:nvSpPr>
        <p:spPr>
          <a:xfrm rot="16200000">
            <a:off x="6692552" y="4680796"/>
            <a:ext cx="17812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Courtesy</a:t>
            </a:r>
            <a:r>
              <a:rPr lang="sv-SE" sz="1200" i="1" dirty="0"/>
              <a:t> </a:t>
            </a:r>
            <a:r>
              <a:rPr lang="sv-SE" sz="1200" i="1" dirty="0" err="1"/>
              <a:t>of</a:t>
            </a:r>
            <a:r>
              <a:rPr lang="sv-SE" sz="1200" i="1" dirty="0"/>
              <a:t> S. </a:t>
            </a:r>
            <a:r>
              <a:rPr lang="sv-SE" sz="1200" i="1" dirty="0" err="1"/>
              <a:t>Rosauro</a:t>
            </a:r>
            <a:endParaRPr lang="sv-SE" sz="1200" i="1" dirty="0"/>
          </a:p>
        </p:txBody>
      </p:sp>
    </p:spTree>
    <p:extLst>
      <p:ext uri="{BB962C8B-B14F-4D97-AF65-F5344CB8AC3E}">
        <p14:creationId xmlns:p14="http://schemas.microsoft.com/office/powerpoint/2010/main" val="38570332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765ADD-1A9A-7F43-A176-6ED5D2BA70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ew </a:t>
            </a:r>
            <a:r>
              <a:rPr lang="sv-SE" dirty="0" err="1"/>
              <a:t>physics</a:t>
            </a:r>
            <a:r>
              <a:rPr lang="sv-SE" dirty="0"/>
              <a:t> scenari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A944389-F9F5-4749-96E2-14D9FB76B1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1582739"/>
            <a:ext cx="6686550" cy="40782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A </a:t>
            </a:r>
            <a:r>
              <a:rPr lang="sv-SE" dirty="0" err="1"/>
              <a:t>number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new </a:t>
            </a:r>
            <a:r>
              <a:rPr lang="sv-SE" dirty="0" err="1"/>
              <a:t>physics</a:t>
            </a:r>
            <a:r>
              <a:rPr lang="sv-SE" dirty="0"/>
              <a:t> scenarios </a:t>
            </a:r>
            <a:r>
              <a:rPr lang="sv-SE" dirty="0" err="1"/>
              <a:t>are</a:t>
            </a:r>
            <a:r>
              <a:rPr lang="sv-SE" dirty="0"/>
              <a:t> </a:t>
            </a:r>
            <a:r>
              <a:rPr lang="sv-SE" dirty="0" err="1"/>
              <a:t>being</a:t>
            </a:r>
            <a:r>
              <a:rPr lang="sv-SE" dirty="0"/>
              <a:t>/</a:t>
            </a:r>
            <a:r>
              <a:rPr lang="sv-SE" dirty="0" err="1"/>
              <a:t>will</a:t>
            </a:r>
            <a:r>
              <a:rPr lang="sv-SE" dirty="0"/>
              <a:t> be </a:t>
            </a:r>
            <a:r>
              <a:rPr lang="sv-SE" dirty="0" err="1"/>
              <a:t>investigated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698500" lvl="1" indent="-342900"/>
            <a:r>
              <a:rPr lang="sv-SE" dirty="0"/>
              <a:t>Non-standard neutrino </a:t>
            </a:r>
            <a:r>
              <a:rPr lang="sv-SE" dirty="0" err="1"/>
              <a:t>interactions</a:t>
            </a:r>
            <a:r>
              <a:rPr lang="sv-SE" dirty="0"/>
              <a:t> (NSI)</a:t>
            </a:r>
          </a:p>
          <a:p>
            <a:pPr marL="698500" lvl="1" indent="-342900"/>
            <a:endParaRPr lang="sv-SE" dirty="0"/>
          </a:p>
          <a:p>
            <a:pPr marL="698500" lvl="1" indent="-342900"/>
            <a:r>
              <a:rPr lang="sv-SE" dirty="0" err="1"/>
              <a:t>Light</a:t>
            </a:r>
            <a:r>
              <a:rPr lang="sv-SE" dirty="0"/>
              <a:t> sterile neutrinos</a:t>
            </a:r>
          </a:p>
          <a:p>
            <a:pPr marL="698500" lvl="1" indent="-342900"/>
            <a:endParaRPr lang="sv-SE" dirty="0"/>
          </a:p>
          <a:p>
            <a:pPr marL="698500" lvl="1" indent="-342900"/>
            <a:r>
              <a:rPr lang="sv-SE" dirty="0"/>
              <a:t>Neutrino </a:t>
            </a:r>
            <a:r>
              <a:rPr lang="sv-SE" dirty="0" err="1"/>
              <a:t>mass</a:t>
            </a:r>
            <a:r>
              <a:rPr lang="sv-SE" dirty="0"/>
              <a:t> </a:t>
            </a:r>
            <a:r>
              <a:rPr lang="sv-SE" dirty="0" err="1"/>
              <a:t>model</a:t>
            </a:r>
            <a:r>
              <a:rPr lang="sv-SE" dirty="0"/>
              <a:t> </a:t>
            </a:r>
            <a:r>
              <a:rPr lang="sv-SE" dirty="0" err="1"/>
              <a:t>discriminatio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5310957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AFFEA2-F7E3-234A-B7B0-AD8B814AD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Non-standard neutrino </a:t>
            </a:r>
            <a:r>
              <a:rPr lang="sv-SE" dirty="0" err="1"/>
              <a:t>interactions</a:t>
            </a:r>
            <a:r>
              <a:rPr lang="sv-SE" dirty="0"/>
              <a:t> (NS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4C6716-0E58-2542-892A-413792FF7D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1582739"/>
            <a:ext cx="2800350" cy="40782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Effects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NSI on standard </a:t>
            </a:r>
            <a:r>
              <a:rPr lang="sv-SE" dirty="0" err="1"/>
              <a:t>measurements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Sensitivity</a:t>
            </a:r>
            <a:r>
              <a:rPr lang="sv-SE" dirty="0"/>
              <a:t> to NS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Current</a:t>
            </a:r>
            <a:r>
              <a:rPr lang="sv-SE" dirty="0"/>
              <a:t> </a:t>
            </a:r>
            <a:r>
              <a:rPr lang="sv-SE" dirty="0" err="1"/>
              <a:t>bounds</a:t>
            </a:r>
            <a:r>
              <a:rPr lang="sv-SE" dirty="0"/>
              <a:t> on NSI strong </a:t>
            </a:r>
            <a:r>
              <a:rPr lang="sv-SE" dirty="0" err="1"/>
              <a:t>enough</a:t>
            </a:r>
            <a:r>
              <a:rPr lang="sv-SE" dirty="0"/>
              <a:t> to limit </a:t>
            </a:r>
            <a:r>
              <a:rPr lang="sv-SE" dirty="0" err="1"/>
              <a:t>impact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75F97A2-6C27-5942-BD92-39757C63CE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43556" y="1562099"/>
            <a:ext cx="3786044" cy="428976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C57C568-EE8A-6846-8DC4-8F57C2B76082}"/>
              </a:ext>
            </a:extLst>
          </p:cNvPr>
          <p:cNvSpPr txBox="1"/>
          <p:nvPr/>
        </p:nvSpPr>
        <p:spPr>
          <a:xfrm rot="16200000">
            <a:off x="6426124" y="3249525"/>
            <a:ext cx="344979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/>
              <a:t>MB, </a:t>
            </a:r>
            <a:r>
              <a:rPr lang="sv-SE" sz="1200" i="1" dirty="0" err="1"/>
              <a:t>Choubey</a:t>
            </a:r>
            <a:r>
              <a:rPr lang="sv-SE" sz="1200" i="1" dirty="0"/>
              <a:t>, Ohlsson, </a:t>
            </a:r>
            <a:r>
              <a:rPr lang="sv-SE" sz="1200" i="1" dirty="0" err="1"/>
              <a:t>Raut</a:t>
            </a:r>
            <a:r>
              <a:rPr lang="sv-SE" sz="1200" i="1" dirty="0"/>
              <a:t>, arXiv:1507.02868</a:t>
            </a:r>
          </a:p>
        </p:txBody>
      </p:sp>
    </p:spTree>
    <p:extLst>
      <p:ext uri="{BB962C8B-B14F-4D97-AF65-F5344CB8AC3E}">
        <p14:creationId xmlns:p14="http://schemas.microsoft.com/office/powerpoint/2010/main" val="31258089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1F4ADE-E063-9B48-878D-88A6071269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terile neutrino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6B332B-AC4F-0041-877D-A2E0F212C4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19250" y="1582739"/>
            <a:ext cx="2990850" cy="407828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A sterile neutrino </a:t>
            </a:r>
            <a:r>
              <a:rPr lang="sv-SE" dirty="0" err="1"/>
              <a:t>with</a:t>
            </a:r>
            <a:r>
              <a:rPr lang="sv-SE" dirty="0"/>
              <a:t> </a:t>
            </a:r>
            <a:r>
              <a:rPr lang="sv-SE" dirty="0" err="1"/>
              <a:t>mass</a:t>
            </a:r>
            <a:r>
              <a:rPr lang="sv-SE" dirty="0"/>
              <a:t> </a:t>
            </a:r>
            <a:r>
              <a:rPr lang="sv-SE" dirty="0" err="1"/>
              <a:t>splitting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order 1 eV</a:t>
            </a:r>
            <a:r>
              <a:rPr lang="sv-SE" baseline="30000" dirty="0"/>
              <a:t>2</a:t>
            </a:r>
          </a:p>
          <a:p>
            <a:pPr marL="698500" lvl="1" indent="-342900"/>
            <a:r>
              <a:rPr lang="sv-SE" dirty="0"/>
              <a:t>Oscillation </a:t>
            </a:r>
            <a:r>
              <a:rPr lang="sv-SE" dirty="0" err="1"/>
              <a:t>pattern</a:t>
            </a:r>
            <a:r>
              <a:rPr lang="sv-SE" dirty="0"/>
              <a:t> in </a:t>
            </a:r>
            <a:r>
              <a:rPr lang="sv-SE" dirty="0" err="1"/>
              <a:t>near</a:t>
            </a:r>
            <a:r>
              <a:rPr lang="sv-SE" dirty="0"/>
              <a:t> </a:t>
            </a:r>
            <a:r>
              <a:rPr lang="sv-SE" dirty="0" err="1"/>
              <a:t>detector</a:t>
            </a:r>
            <a:r>
              <a:rPr lang="sv-SE" dirty="0"/>
              <a:t> </a:t>
            </a:r>
            <a:r>
              <a:rPr lang="sv-SE" dirty="0" err="1"/>
              <a:t>around</a:t>
            </a:r>
            <a:r>
              <a:rPr lang="sv-SE" dirty="0"/>
              <a:t> 1 k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Currently</a:t>
            </a:r>
            <a:r>
              <a:rPr lang="sv-SE" dirty="0"/>
              <a:t> under </a:t>
            </a:r>
            <a:r>
              <a:rPr lang="sv-SE" dirty="0" err="1"/>
              <a:t>investigation</a:t>
            </a:r>
            <a:r>
              <a:rPr lang="sv-SE" dirty="0"/>
              <a:t> by the </a:t>
            </a:r>
            <a:r>
              <a:rPr lang="sv-SE" dirty="0" err="1"/>
              <a:t>physics</a:t>
            </a:r>
            <a:r>
              <a:rPr lang="sv-SE" dirty="0"/>
              <a:t> </a:t>
            </a:r>
            <a:r>
              <a:rPr lang="sv-SE" dirty="0" err="1"/>
              <a:t>reach</a:t>
            </a:r>
            <a:r>
              <a:rPr lang="sv-SE" dirty="0"/>
              <a:t> WP (WP6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64ADB97-85EC-CA4A-B866-C4C1245A7F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5622" y="1320800"/>
            <a:ext cx="4242696" cy="41021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91F720E-41AC-324C-A863-865BDE0062CF}"/>
              </a:ext>
            </a:extLst>
          </p:cNvPr>
          <p:cNvSpPr txBox="1"/>
          <p:nvPr/>
        </p:nvSpPr>
        <p:spPr>
          <a:xfrm rot="16200000">
            <a:off x="7023025" y="3046326"/>
            <a:ext cx="369043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/>
              <a:t>MB, </a:t>
            </a:r>
            <a:r>
              <a:rPr lang="sv-SE" sz="1200" i="1" dirty="0" err="1"/>
              <a:t>Coloma</a:t>
            </a:r>
            <a:r>
              <a:rPr lang="sv-SE" sz="1200" i="1" dirty="0"/>
              <a:t>, Fernandez-Martinez, arXiv:1407.1317</a:t>
            </a:r>
          </a:p>
        </p:txBody>
      </p:sp>
    </p:spTree>
    <p:extLst>
      <p:ext uri="{BB962C8B-B14F-4D97-AF65-F5344CB8AC3E}">
        <p14:creationId xmlns:p14="http://schemas.microsoft.com/office/powerpoint/2010/main" val="18702061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96F9E64-5DF4-6F4E-975E-361FD5C6FC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Establish</a:t>
            </a:r>
            <a:r>
              <a:rPr lang="sv-SE" dirty="0"/>
              <a:t> (</a:t>
            </a:r>
            <a:r>
              <a:rPr lang="sv-SE" dirty="0" err="1"/>
              <a:t>bounds</a:t>
            </a:r>
            <a:r>
              <a:rPr lang="sv-SE" dirty="0"/>
              <a:t> on) CP </a:t>
            </a:r>
            <a:r>
              <a:rPr lang="sv-SE" dirty="0" err="1"/>
              <a:t>violation</a:t>
            </a:r>
            <a:r>
              <a:rPr lang="sv-SE" dirty="0"/>
              <a:t> in the </a:t>
            </a:r>
            <a:r>
              <a:rPr lang="sv-SE" dirty="0" err="1"/>
              <a:t>lepton</a:t>
            </a:r>
            <a:r>
              <a:rPr lang="sv-SE" dirty="0"/>
              <a:t> </a:t>
            </a:r>
            <a:r>
              <a:rPr lang="sv-SE" dirty="0" err="1"/>
              <a:t>sector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Neutrino </a:t>
            </a:r>
            <a:r>
              <a:rPr lang="sv-SE" dirty="0" err="1"/>
              <a:t>mass</a:t>
            </a:r>
            <a:r>
              <a:rPr lang="sv-SE" dirty="0"/>
              <a:t> </a:t>
            </a:r>
            <a:r>
              <a:rPr lang="sv-SE" dirty="0" err="1"/>
              <a:t>hierarchy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Investigate</a:t>
            </a:r>
            <a:r>
              <a:rPr lang="sv-SE" dirty="0"/>
              <a:t> new </a:t>
            </a:r>
            <a:r>
              <a:rPr lang="sv-SE" dirty="0" err="1"/>
              <a:t>physics</a:t>
            </a:r>
            <a:r>
              <a:rPr lang="sv-SE" dirty="0"/>
              <a:t> in the neutrino </a:t>
            </a:r>
            <a:r>
              <a:rPr lang="sv-SE" dirty="0" err="1"/>
              <a:t>sector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Other</a:t>
            </a:r>
            <a:r>
              <a:rPr lang="sv-SE" dirty="0"/>
              <a:t> </a:t>
            </a:r>
            <a:r>
              <a:rPr lang="sv-SE" dirty="0" err="1"/>
              <a:t>goals</a:t>
            </a:r>
            <a:endParaRPr lang="sv-SE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24A75FB-17A4-924E-B248-37BE163CA6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hysics</a:t>
            </a:r>
            <a:r>
              <a:rPr lang="sv-SE" dirty="0"/>
              <a:t> </a:t>
            </a:r>
            <a:r>
              <a:rPr lang="sv-SE" dirty="0" err="1"/>
              <a:t>goals</a:t>
            </a:r>
            <a:endParaRPr lang="sv-S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7EDA6D-8C39-E34D-8343-77C70F79B6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5463" y="117431"/>
            <a:ext cx="3493370" cy="294753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A55DD299-3613-FF4C-AFDF-56B22A99C5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47988" y="2974573"/>
            <a:ext cx="3482237" cy="291015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257B9A0F-7C9B-534B-B726-8A2226EC8382}"/>
              </a:ext>
            </a:extLst>
          </p:cNvPr>
          <p:cNvSpPr/>
          <p:nvPr/>
        </p:nvSpPr>
        <p:spPr>
          <a:xfrm rot="16200000">
            <a:off x="6874819" y="3979432"/>
            <a:ext cx="341471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sz="1200" i="1" dirty="0">
                <a:solidFill>
                  <a:srgbClr val="000000"/>
                </a:solidFill>
                <a:latin typeface="Lucida Grande" panose="020B0600040502020204" pitchFamily="34" charset="0"/>
              </a:rPr>
              <a:t>Mena, </a:t>
            </a:r>
            <a:r>
              <a:rPr lang="sv-SE" sz="1200" i="1" dirty="0" err="1">
                <a:solidFill>
                  <a:srgbClr val="000000"/>
                </a:solidFill>
                <a:latin typeface="Lucida Grande" panose="020B0600040502020204" pitchFamily="34" charset="0"/>
              </a:rPr>
              <a:t>Parke</a:t>
            </a:r>
            <a:r>
              <a:rPr lang="sv-SE" sz="1200" i="1" dirty="0">
                <a:solidFill>
                  <a:srgbClr val="000000"/>
                </a:solidFill>
                <a:latin typeface="Lucida Grande" panose="020B0600040502020204" pitchFamily="34" charset="0"/>
              </a:rPr>
              <a:t>, </a:t>
            </a:r>
            <a:r>
              <a:rPr lang="sv-SE" sz="1200" i="1" dirty="0" err="1">
                <a:solidFill>
                  <a:srgbClr val="000000"/>
                </a:solidFill>
                <a:latin typeface="Lucida Grande" panose="020B0600040502020204" pitchFamily="34" charset="0"/>
              </a:rPr>
              <a:t>Phys.Rev</a:t>
            </a:r>
            <a:r>
              <a:rPr lang="sv-SE" sz="1200" i="1" dirty="0">
                <a:solidFill>
                  <a:srgbClr val="000000"/>
                </a:solidFill>
                <a:latin typeface="Lucida Grande" panose="020B0600040502020204" pitchFamily="34" charset="0"/>
              </a:rPr>
              <a:t>. D69 (2004) 117301</a:t>
            </a:r>
            <a:endParaRPr lang="sv-SE" sz="1200" i="1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0BD93CC-2950-6043-9399-3D8D07A3F9B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41109" y="1027743"/>
            <a:ext cx="23749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46385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747180-3A36-4E47-87F6-C2BA18E060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Other</a:t>
            </a:r>
            <a:r>
              <a:rPr lang="sv-SE" dirty="0"/>
              <a:t> </a:t>
            </a:r>
            <a:r>
              <a:rPr lang="sv-SE" dirty="0" err="1"/>
              <a:t>physics</a:t>
            </a:r>
            <a:endParaRPr lang="sv-SE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50F6FD1-E43F-FB48-BA65-5E98624CED84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1619250" y="1582739"/>
                <a:ext cx="5111750" cy="4078286"/>
              </a:xfrm>
            </p:spPr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dirty="0"/>
                  <a:t>All </a:t>
                </a:r>
                <a:r>
                  <a:rPr lang="sv-SE" dirty="0" err="1"/>
                  <a:t>of</a:t>
                </a:r>
                <a:r>
                  <a:rPr lang="sv-SE" dirty="0"/>
                  <a:t> the </a:t>
                </a:r>
                <a:r>
                  <a:rPr lang="sv-SE" dirty="0" err="1"/>
                  <a:t>typical</a:t>
                </a:r>
                <a:r>
                  <a:rPr lang="sv-SE" dirty="0"/>
                  <a:t> (</a:t>
                </a:r>
                <a:r>
                  <a:rPr lang="sv-SE" dirty="0" err="1"/>
                  <a:t>beam</a:t>
                </a:r>
                <a:r>
                  <a:rPr lang="sv-SE" dirty="0"/>
                  <a:t> independent) </a:t>
                </a:r>
                <a:r>
                  <a:rPr lang="sv-SE" dirty="0" err="1"/>
                  <a:t>capabilities</a:t>
                </a:r>
                <a:r>
                  <a:rPr lang="sv-SE" dirty="0"/>
                  <a:t> </a:t>
                </a:r>
                <a:r>
                  <a:rPr lang="sv-SE" dirty="0" err="1"/>
                  <a:t>of</a:t>
                </a:r>
                <a:r>
                  <a:rPr lang="sv-SE" dirty="0"/>
                  <a:t> a megaton WC </a:t>
                </a:r>
                <a:r>
                  <a:rPr lang="sv-SE" dirty="0" err="1"/>
                  <a:t>detector</a:t>
                </a:r>
                <a:r>
                  <a:rPr lang="sv-SE" dirty="0"/>
                  <a:t> </a:t>
                </a:r>
                <a:r>
                  <a:rPr lang="sv-SE" dirty="0" err="1"/>
                  <a:t>remain</a:t>
                </a:r>
                <a:endParaRPr lang="sv-SE" dirty="0"/>
              </a:p>
              <a:p>
                <a:pPr marL="698500" lvl="1" indent="-342900"/>
                <a:r>
                  <a:rPr lang="sv-SE" dirty="0"/>
                  <a:t>Proton </a:t>
                </a:r>
                <a:r>
                  <a:rPr lang="sv-SE" dirty="0" err="1"/>
                  <a:t>decay</a:t>
                </a:r>
                <a:r>
                  <a:rPr lang="sv-SE" dirty="0"/>
                  <a:t> (</a:t>
                </a:r>
                <a14:m>
                  <m:oMath xmlns:m="http://schemas.openxmlformats.org/officeDocument/2006/math">
                    <m:r>
                      <a:rPr lang="sv-S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r>
                      <a:rPr lang="sv-S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∙</m:t>
                    </m:r>
                    <m:sSup>
                      <m:sSupPr>
                        <m:ctrlPr>
                          <a:rPr lang="sv-S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sv-S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sv-SE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4</m:t>
                        </m:r>
                      </m:sup>
                    </m:sSup>
                  </m:oMath>
                </a14:m>
                <a:r>
                  <a:rPr lang="sv-SE" dirty="0"/>
                  <a:t> yr @ 5 MT yr)</a:t>
                </a:r>
              </a:p>
              <a:p>
                <a:pPr marL="698500" lvl="1" indent="-342900"/>
                <a:r>
                  <a:rPr lang="sv-SE" dirty="0"/>
                  <a:t>Solar neutrinos</a:t>
                </a:r>
              </a:p>
              <a:p>
                <a:pPr marL="698500" lvl="1" indent="-342900"/>
                <a:r>
                  <a:rPr lang="sv-SE" dirty="0"/>
                  <a:t>Supernova explosions (</a:t>
                </a:r>
                <a14:m>
                  <m:oMath xmlns:m="http://schemas.openxmlformats.org/officeDocument/2006/math">
                    <m:sSup>
                      <m:sSupPr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sv-S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~</m:t>
                        </m:r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sv-SE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p>
                    </m:sSup>
                  </m:oMath>
                </a14:m>
                <a:r>
                  <a:rPr lang="sv-SE" dirty="0"/>
                  <a:t> events, </a:t>
                </a:r>
                <a:r>
                  <a:rPr lang="sv-SE" dirty="0" err="1"/>
                  <a:t>Milky</a:t>
                </a:r>
                <a:r>
                  <a:rPr lang="sv-SE" dirty="0"/>
                  <a:t> Way – </a:t>
                </a:r>
                <a14:m>
                  <m:oMath xmlns:m="http://schemas.openxmlformats.org/officeDocument/2006/math">
                    <m:r>
                      <a:rPr lang="sv-S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~</m:t>
                    </m:r>
                    <m:r>
                      <a:rPr lang="sv-SE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0</m:t>
                    </m:r>
                  </m:oMath>
                </a14:m>
                <a:r>
                  <a:rPr lang="sv-SE" dirty="0"/>
                  <a:t>, Andromeda)</a:t>
                </a:r>
              </a:p>
              <a:p>
                <a:pPr marL="698500" lvl="1" indent="-342900"/>
                <a:r>
                  <a:rPr lang="sv-SE" dirty="0"/>
                  <a:t>Diffuse supernova neutrinos</a:t>
                </a:r>
              </a:p>
              <a:p>
                <a:pPr marL="698500" lvl="1" indent="-342900"/>
                <a:r>
                  <a:rPr lang="sv-SE" dirty="0" err="1"/>
                  <a:t>Cosmological</a:t>
                </a:r>
                <a:r>
                  <a:rPr lang="sv-SE" dirty="0"/>
                  <a:t> neutrino </a:t>
                </a:r>
                <a:r>
                  <a:rPr lang="sv-SE" dirty="0" err="1"/>
                  <a:t>sources</a:t>
                </a:r>
                <a:endParaRPr lang="sv-SE" dirty="0"/>
              </a:p>
              <a:p>
                <a:pPr marL="698500" lvl="1" indent="-342900"/>
                <a:r>
                  <a:rPr lang="sv-SE" dirty="0"/>
                  <a:t>Geo-neutrinos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50F6FD1-E43F-FB48-BA65-5E98624CED8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1619250" y="1582739"/>
                <a:ext cx="5111750" cy="4078286"/>
              </a:xfrm>
              <a:blipFill>
                <a:blip r:embed="rId2"/>
                <a:stretch>
                  <a:fillRect l="-2730" t="-1863" r="-24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6997613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F0BDCD-2B34-9C4A-B9A6-3E04ECCCC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Summary</a:t>
            </a:r>
            <a:endParaRPr lang="sv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424E0B-E0F9-D948-A3E9-FEF99426E6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The </a:t>
            </a:r>
            <a:r>
              <a:rPr lang="sv-SE" dirty="0" err="1"/>
              <a:t>ESSnSB</a:t>
            </a:r>
            <a:r>
              <a:rPr lang="sv-SE" dirty="0"/>
              <a:t> </a:t>
            </a:r>
            <a:r>
              <a:rPr lang="sv-SE" dirty="0" err="1"/>
              <a:t>aim</a:t>
            </a:r>
            <a:r>
              <a:rPr lang="sv-SE" dirty="0"/>
              <a:t> is to </a:t>
            </a:r>
            <a:r>
              <a:rPr lang="sv-SE" dirty="0" err="1"/>
              <a:t>measure</a:t>
            </a:r>
            <a:r>
              <a:rPr lang="sv-SE" dirty="0"/>
              <a:t> the </a:t>
            </a:r>
            <a:r>
              <a:rPr lang="sv-SE" dirty="0" err="1"/>
              <a:t>leptonic</a:t>
            </a:r>
            <a:r>
              <a:rPr lang="sv-SE" dirty="0"/>
              <a:t> CP </a:t>
            </a:r>
            <a:r>
              <a:rPr lang="sv-SE" dirty="0" err="1"/>
              <a:t>phase</a:t>
            </a:r>
            <a:r>
              <a:rPr lang="sv-SE" dirty="0"/>
              <a:t> </a:t>
            </a:r>
            <a:r>
              <a:rPr lang="sv-SE" dirty="0" err="1"/>
              <a:t>with</a:t>
            </a:r>
            <a:r>
              <a:rPr lang="sv-SE" dirty="0"/>
              <a:t> </a:t>
            </a:r>
            <a:r>
              <a:rPr lang="sv-SE" dirty="0" err="1"/>
              <a:t>good</a:t>
            </a:r>
            <a:r>
              <a:rPr lang="sv-SE" dirty="0"/>
              <a:t> precision</a:t>
            </a:r>
          </a:p>
          <a:p>
            <a:pPr marL="698500" lvl="1" indent="-342900"/>
            <a:r>
              <a:rPr lang="sv-SE" dirty="0"/>
              <a:t>Second oscillation maximum</a:t>
            </a:r>
          </a:p>
          <a:p>
            <a:pPr marL="698500" lvl="1" indent="-342900"/>
            <a:r>
              <a:rPr lang="sv-SE" dirty="0" err="1"/>
              <a:t>Degeneracies</a:t>
            </a:r>
            <a:r>
              <a:rPr lang="sv-SE" dirty="0"/>
              <a:t> (</a:t>
            </a:r>
            <a:r>
              <a:rPr lang="sv-SE" dirty="0" err="1"/>
              <a:t>sufficiently</a:t>
            </a:r>
            <a:r>
              <a:rPr lang="sv-SE" dirty="0"/>
              <a:t>) </a:t>
            </a:r>
            <a:r>
              <a:rPr lang="sv-SE" dirty="0" err="1"/>
              <a:t>solved</a:t>
            </a:r>
            <a:r>
              <a:rPr lang="sv-SE" dirty="0"/>
              <a:t> by </a:t>
            </a:r>
            <a:r>
              <a:rPr lang="sv-SE" dirty="0" err="1"/>
              <a:t>atmospheric</a:t>
            </a:r>
            <a:r>
              <a:rPr lang="sv-SE" dirty="0"/>
              <a:t> neutrino </a:t>
            </a:r>
            <a:r>
              <a:rPr lang="sv-SE" dirty="0" err="1"/>
              <a:t>sample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Running</a:t>
            </a:r>
            <a:r>
              <a:rPr lang="sv-SE" dirty="0"/>
              <a:t> </a:t>
            </a:r>
            <a:r>
              <a:rPr lang="sv-SE" dirty="0" err="1"/>
              <a:t>time</a:t>
            </a:r>
            <a:r>
              <a:rPr lang="sv-SE" dirty="0"/>
              <a:t> in nu/anti-nu </a:t>
            </a:r>
            <a:r>
              <a:rPr lang="sv-SE" dirty="0" err="1"/>
              <a:t>can</a:t>
            </a:r>
            <a:r>
              <a:rPr lang="sv-SE" dirty="0"/>
              <a:t> be </a:t>
            </a:r>
            <a:r>
              <a:rPr lang="sv-SE" dirty="0" err="1"/>
              <a:t>adapted</a:t>
            </a:r>
            <a:r>
              <a:rPr lang="sv-SE" dirty="0"/>
              <a:t> to hints from </a:t>
            </a:r>
            <a:r>
              <a:rPr lang="sv-SE" dirty="0" err="1"/>
              <a:t>earlier</a:t>
            </a:r>
            <a:r>
              <a:rPr lang="sv-SE" dirty="0"/>
              <a:t> experiments </a:t>
            </a:r>
            <a:r>
              <a:rPr lang="sv-SE" dirty="0" err="1"/>
              <a:t>without</a:t>
            </a:r>
            <a:r>
              <a:rPr lang="sv-SE" dirty="0"/>
              <a:t> </a:t>
            </a:r>
            <a:r>
              <a:rPr lang="sv-SE" dirty="0" err="1"/>
              <a:t>significantly</a:t>
            </a:r>
            <a:r>
              <a:rPr lang="sv-SE" dirty="0"/>
              <a:t> </a:t>
            </a:r>
            <a:r>
              <a:rPr lang="sv-SE" dirty="0" err="1"/>
              <a:t>affecting</a:t>
            </a:r>
            <a:r>
              <a:rPr lang="sv-SE" dirty="0"/>
              <a:t> CP-</a:t>
            </a:r>
            <a:r>
              <a:rPr lang="sv-SE" dirty="0" err="1"/>
              <a:t>discovery</a:t>
            </a:r>
            <a:r>
              <a:rPr lang="sv-SE" dirty="0"/>
              <a:t> potenti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Robust to </a:t>
            </a:r>
            <a:r>
              <a:rPr lang="sv-SE" dirty="0" err="1"/>
              <a:t>systematic</a:t>
            </a:r>
            <a:r>
              <a:rPr lang="sv-SE" dirty="0"/>
              <a:t> </a:t>
            </a:r>
            <a:r>
              <a:rPr lang="sv-SE" dirty="0" err="1"/>
              <a:t>errors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An extensive program </a:t>
            </a:r>
            <a:r>
              <a:rPr lang="sv-SE" dirty="0" err="1"/>
              <a:t>related</a:t>
            </a:r>
            <a:r>
              <a:rPr lang="sv-SE" dirty="0"/>
              <a:t> to the far </a:t>
            </a:r>
            <a:r>
              <a:rPr lang="sv-SE" dirty="0" err="1"/>
              <a:t>detector</a:t>
            </a:r>
            <a:r>
              <a:rPr lang="sv-SE" dirty="0"/>
              <a:t> </a:t>
            </a:r>
            <a:r>
              <a:rPr lang="sv-SE" dirty="0" err="1"/>
              <a:t>possible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Several</a:t>
            </a:r>
            <a:r>
              <a:rPr lang="sv-SE" dirty="0"/>
              <a:t> </a:t>
            </a:r>
            <a:r>
              <a:rPr lang="sv-SE" dirty="0" err="1"/>
              <a:t>avenues</a:t>
            </a:r>
            <a:r>
              <a:rPr lang="sv-SE" dirty="0"/>
              <a:t> for </a:t>
            </a:r>
            <a:r>
              <a:rPr lang="sv-SE" dirty="0" err="1"/>
              <a:t>investigating</a:t>
            </a:r>
            <a:r>
              <a:rPr lang="sv-SE" dirty="0"/>
              <a:t> new </a:t>
            </a:r>
            <a:r>
              <a:rPr lang="sv-SE" dirty="0" err="1"/>
              <a:t>physic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151953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384C27F-E3C8-0441-96E9-31F4649DFE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47781" y="1520109"/>
            <a:ext cx="3717015" cy="3590510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CP </a:t>
            </a:r>
            <a:r>
              <a:rPr lang="sv-SE" dirty="0" err="1"/>
              <a:t>violation</a:t>
            </a:r>
            <a:r>
              <a:rPr lang="sv-SE" dirty="0"/>
              <a:t> </a:t>
            </a:r>
            <a:r>
              <a:rPr lang="sv-SE" dirty="0" err="1"/>
              <a:t>mainly</a:t>
            </a:r>
            <a:r>
              <a:rPr lang="sv-SE" dirty="0"/>
              <a:t> </a:t>
            </a:r>
            <a:r>
              <a:rPr lang="sv-SE" dirty="0" err="1"/>
              <a:t>through</a:t>
            </a:r>
            <a:r>
              <a:rPr lang="sv-SE" dirty="0"/>
              <a:t> </a:t>
            </a:r>
            <a:r>
              <a:rPr lang="sv-SE" dirty="0" err="1"/>
              <a:t>interference</a:t>
            </a: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 err="1"/>
              <a:t>Requires</a:t>
            </a:r>
            <a:r>
              <a:rPr lang="sv-SE" dirty="0"/>
              <a:t> </a:t>
            </a:r>
            <a:r>
              <a:rPr lang="sv-SE" dirty="0" err="1"/>
              <a:t>similar</a:t>
            </a:r>
            <a:r>
              <a:rPr lang="sv-SE" dirty="0"/>
              <a:t> </a:t>
            </a:r>
            <a:r>
              <a:rPr lang="sv-SE" dirty="0" err="1"/>
              <a:t>amplitude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different </a:t>
            </a:r>
            <a:r>
              <a:rPr lang="sv-SE" dirty="0" err="1"/>
              <a:t>frequency</a:t>
            </a:r>
            <a:r>
              <a:rPr lang="sv-SE" dirty="0"/>
              <a:t> oscillations</a:t>
            </a:r>
          </a:p>
          <a:p>
            <a:endParaRPr lang="sv-SE" dirty="0"/>
          </a:p>
          <a:p>
            <a:pPr marL="698500" lvl="1" indent="-342900"/>
            <a:r>
              <a:rPr lang="sv-SE" dirty="0" err="1"/>
              <a:t>Atmospheric</a:t>
            </a:r>
            <a:endParaRPr lang="sv-SE" dirty="0"/>
          </a:p>
          <a:p>
            <a:pPr lvl="1" indent="0">
              <a:buNone/>
            </a:pPr>
            <a:endParaRPr lang="sv-SE" dirty="0"/>
          </a:p>
          <a:p>
            <a:pPr marL="698500" lvl="1" indent="-342900"/>
            <a:r>
              <a:rPr lang="sv-SE" dirty="0"/>
              <a:t>Solar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itle 3">
                <a:extLst>
                  <a:ext uri="{FF2B5EF4-FFF2-40B4-BE49-F238E27FC236}">
                    <a16:creationId xmlns:a16="http://schemas.microsoft.com/office/drawing/2014/main" id="{FAE1FC80-BFF6-844B-8813-FC5469EB1858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sv-SE" dirty="0"/>
                  <a:t>Physics </a:t>
                </a:r>
                <a:r>
                  <a:rPr lang="sv-SE" dirty="0" err="1"/>
                  <a:t>of</a:t>
                </a:r>
                <a:r>
                  <a:rPr lang="sv-SE" dirty="0"/>
                  <a:t> CP </a:t>
                </a:r>
                <a:r>
                  <a:rPr lang="sv-SE" dirty="0" err="1"/>
                  <a:t>violation</a:t>
                </a:r>
                <a:r>
                  <a:rPr lang="sv-SE" dirty="0"/>
                  <a:t> in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sv-SE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sv-SE" b="1" i="1" smtClean="0">
                            <a:latin typeface="Cambria Math" panose="02040503050406030204" pitchFamily="18" charset="0"/>
                          </a:rPr>
                          <m:t>𝑷</m:t>
                        </m:r>
                      </m:e>
                      <m:sub>
                        <m:r>
                          <a:rPr lang="sv-S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𝝁</m:t>
                        </m:r>
                        <m:r>
                          <a:rPr lang="sv-S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𝒆</m:t>
                        </m:r>
                      </m:sub>
                    </m:sSub>
                  </m:oMath>
                </a14:m>
                <a:endParaRPr lang="sv-SE" dirty="0"/>
              </a:p>
            </p:txBody>
          </p:sp>
        </mc:Choice>
        <mc:Fallback xmlns="">
          <p:sp>
            <p:nvSpPr>
              <p:cNvPr id="4" name="Title 3">
                <a:extLst>
                  <a:ext uri="{FF2B5EF4-FFF2-40B4-BE49-F238E27FC236}">
                    <a16:creationId xmlns:a16="http://schemas.microsoft.com/office/drawing/2014/main" id="{FAE1FC80-BFF6-844B-8813-FC5469EB185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2925" b="-22222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4">
            <a:extLst>
              <a:ext uri="{FF2B5EF4-FFF2-40B4-BE49-F238E27FC236}">
                <a16:creationId xmlns:a16="http://schemas.microsoft.com/office/drawing/2014/main" id="{B2664274-3FC8-A244-8463-989CAFEAC1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417" y="1225213"/>
            <a:ext cx="4715266" cy="434103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D3187E1-3677-4C40-B8DE-B001E21B6AF0}"/>
              </a:ext>
            </a:extLst>
          </p:cNvPr>
          <p:cNvSpPr/>
          <p:nvPr/>
        </p:nvSpPr>
        <p:spPr>
          <a:xfrm>
            <a:off x="215230" y="5511545"/>
            <a:ext cx="380335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sv-SE" sz="1200" i="1" dirty="0" err="1">
                <a:solidFill>
                  <a:srgbClr val="000000"/>
                </a:solidFill>
                <a:latin typeface="arial" panose="020B0604020202020204" pitchFamily="34" charset="0"/>
              </a:rPr>
              <a:t>Coloma</a:t>
            </a:r>
            <a:r>
              <a:rPr lang="sv-SE" sz="1200" i="1" dirty="0">
                <a:solidFill>
                  <a:srgbClr val="000000"/>
                </a:solidFill>
                <a:latin typeface="arial" panose="020B0604020202020204" pitchFamily="34" charset="0"/>
              </a:rPr>
              <a:t>, Fernandez Martinez, JHEP 1204 (2012) 089</a:t>
            </a:r>
            <a:endParaRPr lang="sv-SE" sz="1200" i="1" dirty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0870D9A-E0E7-F147-8B9E-B31D723C6EC1}"/>
                  </a:ext>
                </a:extLst>
              </p:cNvPr>
              <p:cNvSpPr txBox="1"/>
              <p:nvPr/>
            </p:nvSpPr>
            <p:spPr>
              <a:xfrm>
                <a:off x="6018757" y="3093929"/>
                <a:ext cx="2471318" cy="37375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sv-S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𝜇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𝑒</m:t>
                          </m:r>
                        </m:sub>
                      </m:sSub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= </m:t>
                      </m:r>
                      <m:sSup>
                        <m:sSup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d>
                            <m:dPr>
                              <m:begChr m:val="|"/>
                              <m:endChr m:val="|"/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sSub>
                                <m:sSub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</m:e>
                                <m:sub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𝑠𝑜𝑙</m:t>
                                  </m:r>
                                </m:sub>
                              </m:sSub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+</m:t>
                              </m:r>
                              <m:sSup>
                                <m:sSup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𝑒</m:t>
                                  </m:r>
                                </m:e>
                                <m:sup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𝑖</m:t>
                                  </m:r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𝜑</m:t>
                                  </m:r>
                                </m:sup>
                              </m:sSup>
                              <m:sSub>
                                <m:sSub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𝐴</m:t>
                                  </m:r>
                                </m:e>
                                <m:sub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𝑎𝑡𝑚</m:t>
                                  </m:r>
                                </m:sub>
                              </m:sSub>
                            </m:e>
                          </m:d>
                        </m:e>
                        <m:sup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</m:oMath>
                  </m:oMathPara>
                </a14:m>
                <a:endParaRPr lang="sv-SE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D0870D9A-E0E7-F147-8B9E-B31D723C6E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18757" y="3093929"/>
                <a:ext cx="2471318" cy="373757"/>
              </a:xfrm>
              <a:prstGeom prst="rect">
                <a:avLst/>
              </a:prstGeom>
              <a:blipFill>
                <a:blip r:embed="rId4"/>
                <a:stretch>
                  <a:fillRect l="-1531" b="-20000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D53459E-25B3-B04E-9857-06DA2378015C}"/>
                  </a:ext>
                </a:extLst>
              </p:cNvPr>
              <p:cNvSpPr txBox="1"/>
              <p:nvPr/>
            </p:nvSpPr>
            <p:spPr>
              <a:xfrm>
                <a:off x="5843391" y="4559474"/>
                <a:ext cx="3091744" cy="374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𝑠𝑜𝑙</m:t>
                          </m:r>
                        </m:sub>
                      </m:sSub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23</m:t>
                          </m:r>
                        </m:sub>
                      </m:sSub>
                      <m:func>
                        <m:func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sv-SE" b="0" i="0" smtClean="0"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(2</m:t>
                          </m:r>
                          <m:sSub>
                            <m:sSub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2</m:t>
                              </m:r>
                            </m:sub>
                          </m:sSub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  <m:func>
                        <m:func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sv-SE" b="0" i="0" smtClean="0"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box>
                            <m:box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boxPr>
                            <m:e>
                              <m:argPr>
                                <m:argSz m:val="-1"/>
                              </m:argPr>
                              <m:f>
                                <m:f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∆</m:t>
                                  </m:r>
                                  <m:sSubSup>
                                    <m:sSubSupPr>
                                      <m:ctrlPr>
                                        <a:rPr lang="sv-S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sv-S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</m:t>
                                      </m:r>
                                    </m:e>
                                    <m:sub>
                                      <m:r>
                                        <a:rPr lang="sv-S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1</m:t>
                                      </m:r>
                                    </m:sub>
                                    <m:sup>
                                      <m:r>
                                        <a:rPr lang="sv-S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bSup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𝐿</m:t>
                                  </m:r>
                                </m:num>
                                <m:den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den>
                              </m:f>
                            </m:e>
                          </m:box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sv-SE" dirty="0"/>
              </a:p>
            </p:txBody>
          </p:sp>
        </mc:Choice>
        <mc:Fallback xmlns="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D53459E-25B3-B04E-9857-06DA237801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43391" y="4559474"/>
                <a:ext cx="3091744" cy="374718"/>
              </a:xfrm>
              <a:prstGeom prst="rect">
                <a:avLst/>
              </a:prstGeom>
              <a:blipFill>
                <a:blip r:embed="rId5"/>
                <a:stretch>
                  <a:fillRect l="-816" r="-1633" b="-16129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9DD3DB4-8E72-874F-A611-E970A4BF4C48}"/>
                  </a:ext>
                </a:extLst>
              </p:cNvPr>
              <p:cNvSpPr txBox="1"/>
              <p:nvPr/>
            </p:nvSpPr>
            <p:spPr>
              <a:xfrm>
                <a:off x="5745270" y="3822526"/>
                <a:ext cx="3185039" cy="37471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sv-SE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b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𝑎𝑡𝑚</m:t>
                          </m:r>
                        </m:sub>
                      </m:sSub>
                      <m:r>
                        <a:rPr lang="sv-SE" b="0" i="1" smtClean="0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23</m:t>
                          </m:r>
                        </m:sub>
                      </m:sSub>
                      <m:func>
                        <m:func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sv-SE" b="0" i="0" smtClean="0"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(2</m:t>
                          </m:r>
                          <m:sSub>
                            <m:sSub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𝜃</m:t>
                              </m:r>
                            </m:e>
                            <m:sub>
                              <m: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  <m:t>13</m:t>
                              </m:r>
                            </m:sub>
                          </m:sSub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  <m:func>
                        <m:funcPr>
                          <m:ctrlPr>
                            <a:rPr lang="sv-SE" b="0" i="1" smtClean="0">
                              <a:latin typeface="Cambria Math" panose="02040503050406030204" pitchFamily="18" charset="0"/>
                            </a:rPr>
                          </m:ctrlPr>
                        </m:funcPr>
                        <m:fName>
                          <m:r>
                            <m:rPr>
                              <m:sty m:val="p"/>
                            </m:rPr>
                            <a:rPr lang="sv-SE" b="0" i="0" smtClean="0">
                              <a:latin typeface="Cambria Math" panose="02040503050406030204" pitchFamily="18" charset="0"/>
                            </a:rPr>
                            <m:t>sin</m:t>
                          </m:r>
                        </m:fName>
                        <m:e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(</m:t>
                          </m:r>
                          <m:box>
                            <m:box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</a:rPr>
                              </m:ctrlPr>
                            </m:boxPr>
                            <m:e>
                              <m:argPr>
                                <m:argSz m:val="-1"/>
                              </m:argPr>
                              <m:f>
                                <m:fPr>
                                  <m:ctrlP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∆</m:t>
                                  </m:r>
                                  <m:sSubSup>
                                    <m:sSubSupPr>
                                      <m:ctrlPr>
                                        <a:rPr lang="sv-S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</m:ctrlPr>
                                    </m:sSubSupPr>
                                    <m:e>
                                      <m:r>
                                        <a:rPr lang="sv-S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𝑚</m:t>
                                      </m:r>
                                    </m:e>
                                    <m:sub>
                                      <m:r>
                                        <a:rPr lang="sv-S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31</m:t>
                                      </m:r>
                                    </m:sub>
                                    <m:sup>
                                      <m:r>
                                        <a:rPr lang="sv-SE" b="0" i="1" smtClean="0">
                                          <a:latin typeface="Cambria Math" panose="02040503050406030204" pitchFamily="18" charset="0"/>
                                          <a:ea typeface="Cambria Math" panose="02040503050406030204" pitchFamily="18" charset="0"/>
                                        </a:rPr>
                                        <m:t>2</m:t>
                                      </m:r>
                                    </m:sup>
                                  </m:sSubSup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  <a:ea typeface="Cambria Math" panose="02040503050406030204" pitchFamily="18" charset="0"/>
                                    </a:rPr>
                                    <m:t>𝐿</m:t>
                                  </m:r>
                                </m:num>
                                <m:den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4</m:t>
                                  </m:r>
                                  <m:r>
                                    <a:rPr lang="sv-SE" b="0" i="1" smtClean="0">
                                      <a:latin typeface="Cambria Math" panose="02040503050406030204" pitchFamily="18" charset="0"/>
                                    </a:rPr>
                                    <m:t>𝐸</m:t>
                                  </m:r>
                                </m:den>
                              </m:f>
                            </m:e>
                          </m:box>
                          <m:r>
                            <a:rPr lang="sv-SE" b="0" i="1" smtClean="0">
                              <a:latin typeface="Cambria Math" panose="02040503050406030204" pitchFamily="18" charset="0"/>
                            </a:rPr>
                            <m:t>)</m:t>
                          </m:r>
                        </m:e>
                      </m:func>
                    </m:oMath>
                  </m:oMathPara>
                </a14:m>
                <a:endParaRPr lang="sv-SE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69DD3DB4-8E72-874F-A611-E970A4BF4C4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45270" y="3822526"/>
                <a:ext cx="3185039" cy="374718"/>
              </a:xfrm>
              <a:prstGeom prst="rect">
                <a:avLst/>
              </a:prstGeom>
              <a:blipFill>
                <a:blip r:embed="rId6"/>
                <a:stretch>
                  <a:fillRect l="-794" r="-1984" b="-20000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3984110-BB5D-0647-A746-A1B3F24F316B}"/>
                  </a:ext>
                </a:extLst>
              </p:cNvPr>
              <p:cNvSpPr txBox="1"/>
              <p:nvPr/>
            </p:nvSpPr>
            <p:spPr>
              <a:xfrm>
                <a:off x="6995786" y="5298510"/>
                <a:ext cx="1825243" cy="55835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sv-SE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𝜑</m:t>
                      </m:r>
                      <m:r>
                        <a:rPr lang="sv-S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 ±</m:t>
                      </m:r>
                      <m:r>
                        <a:rPr lang="sv-S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𝛿</m:t>
                      </m:r>
                      <m:r>
                        <a:rPr lang="sv-S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</m:t>
                      </m:r>
                      <m:f>
                        <m:fPr>
                          <m:ctrlPr>
                            <a:rPr lang="sv-S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sv-S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∆</m:t>
                          </m:r>
                          <m:sSubSup>
                            <m:sSubSupPr>
                              <m:ctrlPr>
                                <a:rPr lang="sv-S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SupPr>
                            <m:e>
                              <m:r>
                                <a:rPr lang="sv-S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sv-S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31</m:t>
                              </m:r>
                            </m:sub>
                            <m:sup>
                              <m:r>
                                <a:rPr lang="sv-S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p>
                          </m:sSubSup>
                          <m:r>
                            <a:rPr lang="sv-S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𝐿</m:t>
                          </m:r>
                        </m:num>
                        <m:den>
                          <m:r>
                            <a:rPr lang="sv-S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  <m:r>
                            <a:rPr lang="sv-S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𝐸</m:t>
                          </m:r>
                        </m:den>
                      </m:f>
                    </m:oMath>
                  </m:oMathPara>
                </a14:m>
                <a:endParaRPr lang="sv-SE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3984110-BB5D-0647-A746-A1B3F24F31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95786" y="5298510"/>
                <a:ext cx="1825243" cy="558358"/>
              </a:xfrm>
              <a:prstGeom prst="rect">
                <a:avLst/>
              </a:prstGeom>
              <a:blipFill>
                <a:blip r:embed="rId7"/>
                <a:stretch>
                  <a:fillRect l="-2069" r="-690" b="-13333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627288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3B79BA-32CC-CF4C-B6C1-A0D357E338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Base</a:t>
            </a:r>
            <a:r>
              <a:rPr lang="sv-SE" dirty="0"/>
              <a:t> setup and </a:t>
            </a:r>
            <a:r>
              <a:rPr lang="sv-SE" dirty="0" err="1"/>
              <a:t>assumptions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C8A1BF-2250-4F4E-859C-09522A7068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5545" y="1128773"/>
            <a:ext cx="6050072" cy="479490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FC55644-DC3F-9444-9897-12FE5A86C43D}"/>
              </a:ext>
            </a:extLst>
          </p:cNvPr>
          <p:cNvSpPr txBox="1"/>
          <p:nvPr/>
        </p:nvSpPr>
        <p:spPr>
          <a:xfrm rot="16200000">
            <a:off x="6432256" y="4467854"/>
            <a:ext cx="23519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ESSnuSB</a:t>
            </a:r>
            <a:r>
              <a:rPr lang="sv-SE" sz="1200" i="1" dirty="0"/>
              <a:t> WP6, </a:t>
            </a:r>
            <a:r>
              <a:rPr lang="sv-SE" sz="1200" i="1" dirty="0" err="1"/>
              <a:t>Deliverable</a:t>
            </a:r>
            <a:r>
              <a:rPr lang="sv-SE" sz="1200" i="1" dirty="0"/>
              <a:t> 6.1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4AE0FE-1E95-4A4C-A536-AE5FB359200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6200000">
            <a:off x="5683410" y="2637407"/>
            <a:ext cx="5233704" cy="960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9224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C30597-0BEC-9C43-BF34-B1C3FB427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Performance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the </a:t>
            </a:r>
            <a:r>
              <a:rPr lang="sv-SE" dirty="0" err="1"/>
              <a:t>beam</a:t>
            </a:r>
            <a:r>
              <a:rPr lang="sv-SE" dirty="0"/>
              <a:t> experimen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9AA5F9CB-04B0-3548-82A6-58C6FB5DB5DB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dirty="0" err="1"/>
                  <a:t>What</a:t>
                </a:r>
                <a:r>
                  <a:rPr lang="sv-SE" dirty="0"/>
                  <a:t> is the </a:t>
                </a:r>
                <a:r>
                  <a:rPr lang="sv-SE" dirty="0" err="1"/>
                  <a:t>expected</a:t>
                </a:r>
                <a:r>
                  <a:rPr lang="sv-SE" dirty="0"/>
                  <a:t> </a:t>
                </a:r>
                <a:r>
                  <a:rPr lang="sv-SE" dirty="0" err="1"/>
                  <a:t>sensitivity</a:t>
                </a:r>
                <a:r>
                  <a:rPr lang="sv-SE" dirty="0"/>
                  <a:t> to CP </a:t>
                </a:r>
                <a:r>
                  <a:rPr lang="sv-SE" dirty="0" err="1"/>
                  <a:t>violoation</a:t>
                </a:r>
                <a:r>
                  <a:rPr lang="sv-SE" dirty="0"/>
                  <a:t>?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sv-SE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dirty="0" err="1"/>
                  <a:t>What</a:t>
                </a:r>
                <a:r>
                  <a:rPr lang="sv-SE" dirty="0"/>
                  <a:t> is the </a:t>
                </a:r>
                <a:r>
                  <a:rPr lang="sv-SE" dirty="0" err="1"/>
                  <a:t>expected</a:t>
                </a:r>
                <a:r>
                  <a:rPr lang="sv-SE" dirty="0"/>
                  <a:t> precision on </a:t>
                </a:r>
                <a14:m>
                  <m:oMath xmlns:m="http://schemas.openxmlformats.org/officeDocument/2006/math">
                    <m:r>
                      <a:rPr lang="sv-S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𝛿</m:t>
                    </m:r>
                  </m:oMath>
                </a14:m>
                <a:r>
                  <a:rPr lang="sv-SE" dirty="0"/>
                  <a:t>?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sv-SE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dirty="0" err="1"/>
                  <a:t>What</a:t>
                </a:r>
                <a:r>
                  <a:rPr lang="sv-SE" dirty="0"/>
                  <a:t> is the </a:t>
                </a:r>
                <a:r>
                  <a:rPr lang="sv-SE" dirty="0" err="1"/>
                  <a:t>expected</a:t>
                </a:r>
                <a:r>
                  <a:rPr lang="sv-SE" dirty="0"/>
                  <a:t> </a:t>
                </a:r>
                <a:r>
                  <a:rPr lang="sv-SE" dirty="0" err="1"/>
                  <a:t>sensitivity</a:t>
                </a:r>
                <a:r>
                  <a:rPr lang="sv-SE" dirty="0"/>
                  <a:t> to the neutrino </a:t>
                </a:r>
                <a:r>
                  <a:rPr lang="sv-SE" dirty="0" err="1"/>
                  <a:t>mass</a:t>
                </a:r>
                <a:r>
                  <a:rPr lang="sv-SE" dirty="0"/>
                  <a:t> </a:t>
                </a:r>
                <a:r>
                  <a:rPr lang="sv-SE" dirty="0" err="1"/>
                  <a:t>hierarchy</a:t>
                </a:r>
                <a:r>
                  <a:rPr lang="sv-SE" dirty="0"/>
                  <a:t>?</a:t>
                </a:r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endParaRPr lang="sv-SE" dirty="0"/>
              </a:p>
              <a:p>
                <a:pPr marL="342900" indent="-342900">
                  <a:buFont typeface="Arial" panose="020B0604020202020204" pitchFamily="34" charset="0"/>
                  <a:buChar char="•"/>
                </a:pPr>
                <a:r>
                  <a:rPr lang="sv-SE" dirty="0" err="1"/>
                  <a:t>What</a:t>
                </a:r>
                <a:r>
                  <a:rPr lang="sv-SE" dirty="0"/>
                  <a:t> is the </a:t>
                </a:r>
                <a:r>
                  <a:rPr lang="sv-SE" dirty="0" err="1"/>
                  <a:t>impact</a:t>
                </a:r>
                <a:r>
                  <a:rPr lang="sv-SE" dirty="0"/>
                  <a:t> </a:t>
                </a:r>
                <a:r>
                  <a:rPr lang="sv-SE" dirty="0" err="1"/>
                  <a:t>of</a:t>
                </a:r>
                <a:r>
                  <a:rPr lang="sv-SE" dirty="0"/>
                  <a:t> </a:t>
                </a:r>
                <a:r>
                  <a:rPr lang="sv-SE" dirty="0" err="1"/>
                  <a:t>degeneracies</a:t>
                </a:r>
                <a:r>
                  <a:rPr lang="sv-SE" dirty="0"/>
                  <a:t> in the oscillation parameter space?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9AA5F9CB-04B0-3548-82A6-58C6FB5DB5DB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2011" t="-1863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3042779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B58E92-F9FE-1B4B-A56E-102776E892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CP </a:t>
            </a:r>
            <a:r>
              <a:rPr lang="sv-SE" dirty="0" err="1"/>
              <a:t>violation</a:t>
            </a:r>
            <a:endParaRPr lang="sv-S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52F2BCC-C43A-6C4B-9FE6-25053D195591}"/>
              </a:ext>
            </a:extLst>
          </p:cNvPr>
          <p:cNvSpPr txBox="1"/>
          <p:nvPr/>
        </p:nvSpPr>
        <p:spPr>
          <a:xfrm rot="16200000">
            <a:off x="7008454" y="3778923"/>
            <a:ext cx="23519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ESSnuSB</a:t>
            </a:r>
            <a:r>
              <a:rPr lang="sv-SE" sz="1200" i="1" dirty="0"/>
              <a:t> WP6, </a:t>
            </a:r>
            <a:r>
              <a:rPr lang="sv-SE" sz="1200" i="1" dirty="0" err="1"/>
              <a:t>Deliverable</a:t>
            </a:r>
            <a:r>
              <a:rPr lang="sv-SE" sz="1200" i="1" dirty="0"/>
              <a:t> 6.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CD66E78-585B-AC4A-A092-1587BFC083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40077" y="1279148"/>
            <a:ext cx="6847390" cy="4570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3936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3E2DD-194B-A644-972F-77C6386EA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CP precis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BE0380F-3DF6-B84B-87C7-4EEAAA12D5C4}"/>
              </a:ext>
            </a:extLst>
          </p:cNvPr>
          <p:cNvSpPr txBox="1"/>
          <p:nvPr/>
        </p:nvSpPr>
        <p:spPr>
          <a:xfrm rot="16200000">
            <a:off x="7008454" y="3778923"/>
            <a:ext cx="23519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ESSnuSB</a:t>
            </a:r>
            <a:r>
              <a:rPr lang="sv-SE" sz="1200" i="1" dirty="0"/>
              <a:t> WP6, </a:t>
            </a:r>
            <a:r>
              <a:rPr lang="sv-SE" sz="1200" i="1" dirty="0" err="1"/>
              <a:t>Deliverable</a:t>
            </a:r>
            <a:r>
              <a:rPr lang="sv-SE" sz="1200" i="1" dirty="0"/>
              <a:t> 6.1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1ADCBE4-17B8-E841-9DDF-6459FA22B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9243" y="1103953"/>
            <a:ext cx="7241626" cy="4833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23413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C265D4E2-9507-7F4E-97D9-A3A9333C084D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sv-SE" dirty="0"/>
                  <a:t>Effects </a:t>
                </a:r>
                <a:r>
                  <a:rPr lang="sv-SE" dirty="0" err="1"/>
                  <a:t>of</a:t>
                </a:r>
                <a:r>
                  <a:rPr lang="sv-SE" dirty="0"/>
                  <a:t> </a:t>
                </a:r>
                <a:r>
                  <a:rPr lang="sv-SE" dirty="0" err="1"/>
                  <a:t>changing</a:t>
                </a:r>
                <a:r>
                  <a:rPr lang="sv-SE" dirty="0"/>
                  <a:t> </a:t>
                </a:r>
                <a14:m>
                  <m:oMath xmlns:m="http://schemas.openxmlformats.org/officeDocument/2006/math">
                    <m:r>
                      <a:rPr lang="sv-SE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𝝂</m:t>
                    </m:r>
                    <m:r>
                      <a:rPr lang="sv-SE" b="1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/</m:t>
                    </m:r>
                    <m:acc>
                      <m:accPr>
                        <m:chr m:val="̅"/>
                        <m:ctrlPr>
                          <a:rPr lang="sv-S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sv-SE" b="1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𝝂</m:t>
                        </m:r>
                      </m:e>
                    </m:acc>
                  </m:oMath>
                </a14:m>
                <a:r>
                  <a:rPr lang="sv-SE" dirty="0"/>
                  <a:t> </a:t>
                </a:r>
                <a:r>
                  <a:rPr lang="sv-SE" dirty="0" err="1"/>
                  <a:t>running</a:t>
                </a:r>
                <a:r>
                  <a:rPr lang="sv-SE" dirty="0"/>
                  <a:t> </a:t>
                </a:r>
                <a:r>
                  <a:rPr lang="sv-SE" dirty="0" err="1"/>
                  <a:t>times</a:t>
                </a:r>
                <a:endParaRPr lang="sv-SE" dirty="0"/>
              </a:p>
            </p:txBody>
          </p:sp>
        </mc:Choice>
        <mc:Fallback xmlns="">
          <p:sp>
            <p:nvSpPr>
              <p:cNvPr id="2" name="Title 1">
                <a:extLst>
                  <a:ext uri="{FF2B5EF4-FFF2-40B4-BE49-F238E27FC236}">
                    <a16:creationId xmlns:a16="http://schemas.microsoft.com/office/drawing/2014/main" id="{C265D4E2-9507-7F4E-97D9-A3A9333C084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2925" b="-27778"/>
                </a:stretch>
              </a:blipFill>
            </p:spPr>
            <p:txBody>
              <a:bodyPr/>
              <a:lstStyle/>
              <a:p>
                <a:r>
                  <a:rPr lang="sv-SE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" name="Picture 3">
            <a:extLst>
              <a:ext uri="{FF2B5EF4-FFF2-40B4-BE49-F238E27FC236}">
                <a16:creationId xmlns:a16="http://schemas.microsoft.com/office/drawing/2014/main" id="{EAD6C5CA-8608-6049-8378-49C9DF2602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3800" y="1287553"/>
            <a:ext cx="6883400" cy="459969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FD40660-6DD7-174F-8971-ACC2F55E805D}"/>
              </a:ext>
            </a:extLst>
          </p:cNvPr>
          <p:cNvSpPr txBox="1"/>
          <p:nvPr/>
        </p:nvSpPr>
        <p:spPr>
          <a:xfrm rot="16200000">
            <a:off x="7008454" y="3778923"/>
            <a:ext cx="23519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ESSnuSB</a:t>
            </a:r>
            <a:r>
              <a:rPr lang="sv-SE" sz="1200" i="1" dirty="0"/>
              <a:t> WP6, </a:t>
            </a:r>
            <a:r>
              <a:rPr lang="sv-SE" sz="1200" i="1" dirty="0" err="1"/>
              <a:t>Deliverable</a:t>
            </a:r>
            <a:r>
              <a:rPr lang="sv-SE" sz="1200" i="1" dirty="0"/>
              <a:t> 6.1</a:t>
            </a:r>
          </a:p>
        </p:txBody>
      </p:sp>
    </p:spTree>
    <p:extLst>
      <p:ext uri="{BB962C8B-B14F-4D97-AF65-F5344CB8AC3E}">
        <p14:creationId xmlns:p14="http://schemas.microsoft.com/office/powerpoint/2010/main" val="427864127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4CD83-3102-2B40-B466-EB4BC3541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he </a:t>
            </a:r>
            <a:r>
              <a:rPr lang="sv-SE" dirty="0" err="1"/>
              <a:t>impact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systematic</a:t>
            </a:r>
            <a:r>
              <a:rPr lang="sv-SE" dirty="0"/>
              <a:t> </a:t>
            </a:r>
            <a:r>
              <a:rPr lang="sv-SE" dirty="0" err="1"/>
              <a:t>errors</a:t>
            </a:r>
            <a:endParaRPr lang="sv-S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CC8EFAF-CFFE-EF4E-8BDB-4BCCBB87E2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7342" y="1230558"/>
            <a:ext cx="6976997" cy="45971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EDEF913-A8BB-4A44-9E5C-A2E1C76295C0}"/>
              </a:ext>
            </a:extLst>
          </p:cNvPr>
          <p:cNvSpPr txBox="1"/>
          <p:nvPr/>
        </p:nvSpPr>
        <p:spPr>
          <a:xfrm rot="16200000">
            <a:off x="6995929" y="4142178"/>
            <a:ext cx="235192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200" i="1" dirty="0" err="1"/>
              <a:t>ESSnuSB</a:t>
            </a:r>
            <a:r>
              <a:rPr lang="sv-SE" sz="1200" i="1" dirty="0"/>
              <a:t> WP6, </a:t>
            </a:r>
            <a:r>
              <a:rPr lang="sv-SE" sz="1200" i="1" dirty="0" err="1"/>
              <a:t>Deliverable</a:t>
            </a:r>
            <a:r>
              <a:rPr lang="sv-SE" sz="1200" i="1" dirty="0"/>
              <a:t> 6.1</a:t>
            </a:r>
          </a:p>
        </p:txBody>
      </p:sp>
    </p:spTree>
    <p:extLst>
      <p:ext uri="{BB962C8B-B14F-4D97-AF65-F5344CB8AC3E}">
        <p14:creationId xmlns:p14="http://schemas.microsoft.com/office/powerpoint/2010/main" val="1679094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" val="fcb025ba9a6ccf8fed139b5222f2a63b17a479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KTH_with colours and grafs">
  <a:themeElements>
    <a:clrScheme name="Anpassat 9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954A6"/>
      </a:accent1>
      <a:accent2>
        <a:srgbClr val="5893E5"/>
      </a:accent2>
      <a:accent3>
        <a:srgbClr val="62922E"/>
      </a:accent3>
      <a:accent4>
        <a:srgbClr val="A1D16D"/>
      </a:accent4>
      <a:accent5>
        <a:srgbClr val="9D102D"/>
      </a:accent5>
      <a:accent6>
        <a:srgbClr val="EC4769"/>
      </a:accent6>
      <a:hlink>
        <a:srgbClr val="C2C2C4"/>
      </a:hlink>
      <a:folHlink>
        <a:srgbClr val="800080"/>
      </a:folHlink>
    </a:clrScheme>
    <a:fontScheme name="Anpassat 2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TH_PPT template 2014 general</Template>
  <TotalTime>18211</TotalTime>
  <Words>522</Words>
  <Application>Microsoft Macintosh PowerPoint</Application>
  <PresentationFormat>On-screen Show (4:3)</PresentationFormat>
  <Paragraphs>109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Arial</vt:lpstr>
      <vt:lpstr>Calibri</vt:lpstr>
      <vt:lpstr>Cambria Math</vt:lpstr>
      <vt:lpstr>Lucida Grande</vt:lpstr>
      <vt:lpstr>Symbol</vt:lpstr>
      <vt:lpstr>Template_KTH_with colours and grafs</vt:lpstr>
      <vt:lpstr>think-cell Slide</vt:lpstr>
      <vt:lpstr>Physics potential of the ESSnSB</vt:lpstr>
      <vt:lpstr>Physics goals</vt:lpstr>
      <vt:lpstr>Physics of CP violation in P_μe</vt:lpstr>
      <vt:lpstr>Base setup and assumptions</vt:lpstr>
      <vt:lpstr>Performance of the beam experiment</vt:lpstr>
      <vt:lpstr>CP violation</vt:lpstr>
      <vt:lpstr>CP precision</vt:lpstr>
      <vt:lpstr>Effects of changing ν/ν ̅ running times</vt:lpstr>
      <vt:lpstr>The impact of systematic errors</vt:lpstr>
      <vt:lpstr>Comparisons to T2HK</vt:lpstr>
      <vt:lpstr>Adding atmospheric neutrino data</vt:lpstr>
      <vt:lpstr>Mass hierarchy</vt:lpstr>
      <vt:lpstr>Octant sensitivity</vt:lpstr>
      <vt:lpstr>CP sensitivity</vt:lpstr>
      <vt:lpstr>CP precision @ 540 km</vt:lpstr>
      <vt:lpstr>CP precision @ 360 km</vt:lpstr>
      <vt:lpstr>New physics scenarios</vt:lpstr>
      <vt:lpstr>Non-standard neutrino interactions (NSI)</vt:lpstr>
      <vt:lpstr>Sterile neutrinos</vt:lpstr>
      <vt:lpstr>Other physics</vt:lpstr>
      <vt:lpstr>Summary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Mattias</dc:creator>
  <cp:lastModifiedBy>Mattias Blennow</cp:lastModifiedBy>
  <cp:revision>158</cp:revision>
  <cp:lastPrinted>2019-10-07T07:03:33Z</cp:lastPrinted>
  <dcterms:created xsi:type="dcterms:W3CDTF">2014-10-23T10:28:42Z</dcterms:created>
  <dcterms:modified xsi:type="dcterms:W3CDTF">2019-10-07T07:04:31Z</dcterms:modified>
</cp:coreProperties>
</file>